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8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9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0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11.xml" ContentType="application/vnd.openxmlformats-officedocument.presentationml.notesSlide+xml"/>
  <Override PartName="/ppt/tags/tag65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52" r:id="rId1"/>
  </p:sldMasterIdLst>
  <p:notesMasterIdLst>
    <p:notesMasterId r:id="rId14"/>
  </p:notesMasterIdLst>
  <p:handoutMasterIdLst>
    <p:handoutMasterId r:id="rId15"/>
  </p:handoutMasterIdLst>
  <p:sldIdLst>
    <p:sldId id="780" r:id="rId2"/>
    <p:sldId id="800" r:id="rId3"/>
    <p:sldId id="782" r:id="rId4"/>
    <p:sldId id="807" r:id="rId5"/>
    <p:sldId id="783" r:id="rId6"/>
    <p:sldId id="785" r:id="rId7"/>
    <p:sldId id="803" r:id="rId8"/>
    <p:sldId id="789" r:id="rId9"/>
    <p:sldId id="804" r:id="rId10"/>
    <p:sldId id="805" r:id="rId11"/>
    <p:sldId id="806" r:id="rId12"/>
    <p:sldId id="802" r:id="rId13"/>
  </p:sldIdLst>
  <p:sldSz cx="8961438" cy="6721475"/>
  <p:notesSz cx="9928225" cy="6797675"/>
  <p:custDataLst>
    <p:tags r:id="rId1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5613" indent="1588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2813" indent="1588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0013" indent="1588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7213" indent="1588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40" userDrawn="1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2">
          <p15:clr>
            <a:srgbClr val="A4A3A4"/>
          </p15:clr>
        </p15:guide>
        <p15:guide id="2" pos="312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99CCFF"/>
    <a:srgbClr val="FF6600"/>
    <a:srgbClr val="99CC00"/>
    <a:srgbClr val="FFCC00"/>
    <a:srgbClr val="969696"/>
    <a:srgbClr val="FFFF99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rednji stil 2 - Isticanj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545" autoAdjust="0"/>
    <p:restoredTop sz="97310" autoAdjust="0"/>
  </p:normalViewPr>
  <p:slideViewPr>
    <p:cSldViewPr snapToGrid="0">
      <p:cViewPr varScale="1">
        <p:scale>
          <a:sx n="69" d="100"/>
          <a:sy n="69" d="100"/>
        </p:scale>
        <p:origin x="1494" y="72"/>
      </p:cViewPr>
      <p:guideLst>
        <p:guide orient="horz" pos="2140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556"/>
    </p:cViewPr>
  </p:sorterViewPr>
  <p:notesViewPr>
    <p:cSldViewPr snapToGrid="0">
      <p:cViewPr varScale="1">
        <p:scale>
          <a:sx n="112" d="100"/>
          <a:sy n="112" d="100"/>
        </p:scale>
        <p:origin x="-1392" y="-90"/>
      </p:cViewPr>
      <p:guideLst>
        <p:guide orient="horz" pos="2142"/>
        <p:guide pos="312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Radni_list_programa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r-H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331002331002331E-3"/>
          <c:y val="4.4714661761001348E-2"/>
          <c:w val="0.86480186480186483"/>
          <c:h val="0.7211080733168938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ruto domaći proizvod</c:v>
                </c:pt>
              </c:strCache>
            </c:strRef>
          </c:tx>
          <c:spPr>
            <a:solidFill>
              <a:srgbClr val="BBE0E3"/>
            </a:solidFill>
            <a:ln w="17150">
              <a:solidFill>
                <a:srgbClr val="BBE0E3"/>
              </a:solidFill>
              <a:prstDash val="solid"/>
            </a:ln>
          </c:spPr>
          <c:invertIfNegative val="0"/>
          <c:dLbls>
            <c:dLbl>
              <c:idx val="10"/>
              <c:layout>
                <c:manualLayout>
                  <c:x val="9.0169081454780745E-8"/>
                  <c:y val="-0.28528427513941629"/>
                </c:manualLayout>
              </c:layout>
              <c:numFmt formatCode="#,##0.0" sourceLinked="0"/>
              <c:spPr>
                <a:noFill/>
                <a:ln w="34300">
                  <a:noFill/>
                </a:ln>
                <a:effectLst/>
              </c:spPr>
              <c:txPr>
                <a:bodyPr wrap="square" lIns="38100" tIns="19050" rIns="38100" bIns="19050" anchor="t" anchorCtr="0">
                  <a:noAutofit/>
                </a:bodyPr>
                <a:lstStyle/>
                <a:p>
                  <a:pPr>
                    <a:defRPr sz="1080" b="0" i="1" u="none" strike="noStrike" baseline="0">
                      <a:solidFill>
                        <a:srgbClr val="808080"/>
                      </a:solidFill>
                      <a:latin typeface="calibiri"/>
                      <a:ea typeface="calibiri"/>
                      <a:cs typeface="calibiri"/>
                    </a:defRPr>
                  </a:pPr>
                  <a:endParaRPr lang="sr-Latn-R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1872220312641439E-2"/>
                      <c:h val="4.783249905597288E-2"/>
                    </c:manualLayout>
                  </c15:layout>
                </c:ext>
              </c:extLst>
            </c:dLbl>
            <c:numFmt formatCode="#,##0.0" sourceLinked="0"/>
            <c:spPr>
              <a:noFill/>
              <a:ln w="34300"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80" b="0" i="1" u="none" strike="noStrike" baseline="0">
                    <a:solidFill>
                      <a:srgbClr val="808080"/>
                    </a:solidFill>
                    <a:latin typeface="calibiri"/>
                    <a:ea typeface="calibiri"/>
                    <a:cs typeface="calibiri"/>
                  </a:defRPr>
                </a:pPr>
                <a:endParaRPr lang="sr-Latn-R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</c:numCache>
            </c:num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19.5</c:v>
                </c:pt>
                <c:pt idx="1">
                  <c:v>18</c:v>
                </c:pt>
                <c:pt idx="2">
                  <c:v>17.899999999999999</c:v>
                </c:pt>
                <c:pt idx="3">
                  <c:v>16.600000000000001</c:v>
                </c:pt>
                <c:pt idx="4">
                  <c:v>14.8</c:v>
                </c:pt>
                <c:pt idx="5">
                  <c:v>13.2</c:v>
                </c:pt>
                <c:pt idx="6">
                  <c:v>14.9</c:v>
                </c:pt>
                <c:pt idx="7">
                  <c:v>17.399999999999999</c:v>
                </c:pt>
                <c:pt idx="8">
                  <c:v>17.899999999999999</c:v>
                </c:pt>
                <c:pt idx="9">
                  <c:v>19.100000000000001</c:v>
                </c:pt>
                <c:pt idx="10">
                  <c:v>20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57709512"/>
        <c:axId val="157709904"/>
      </c:barChart>
      <c:catAx>
        <c:axId val="1577095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4300">
            <a:solidFill>
              <a:srgbClr val="808080"/>
            </a:solidFill>
            <a:prstDash val="solid"/>
          </a:ln>
        </c:spPr>
        <c:txPr>
          <a:bodyPr rot="0" vert="horz"/>
          <a:lstStyle/>
          <a:p>
            <a:pPr>
              <a:defRPr sz="1215" b="0" i="0" u="none" strike="noStrike" baseline="0">
                <a:solidFill>
                  <a:srgbClr val="808080"/>
                </a:solidFill>
                <a:latin typeface="Calibri"/>
                <a:ea typeface="Calibri"/>
                <a:cs typeface="Calibri"/>
              </a:defRPr>
            </a:pPr>
            <a:endParaRPr lang="sr-Latn-RS"/>
          </a:p>
        </c:txPr>
        <c:crossAx val="15770990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57709904"/>
        <c:scaling>
          <c:orientation val="minMax"/>
          <c:max val="2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7709512"/>
        <c:crosses val="autoZero"/>
        <c:crossBetween val="between"/>
      </c:valAx>
      <c:spPr>
        <a:noFill/>
        <a:ln w="343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161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sr-Latn-R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053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38" tIns="46419" rIns="92838" bIns="46419" numCol="1" anchor="t" anchorCtr="0" compatLnSpc="1">
            <a:prstTxWarp prst="textNoShape">
              <a:avLst/>
            </a:prstTxWarp>
          </a:bodyPr>
          <a:lstStyle>
            <a:lvl1pPr defTabSz="928688">
              <a:buSzTx/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27688" y="0"/>
            <a:ext cx="4300537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38" tIns="46419" rIns="92838" bIns="46419" numCol="1" anchor="t" anchorCtr="0" compatLnSpc="1">
            <a:prstTxWarp prst="textNoShape">
              <a:avLst/>
            </a:prstTxWarp>
          </a:bodyPr>
          <a:lstStyle>
            <a:lvl1pPr algn="r" defTabSz="928688">
              <a:buSzTx/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DE2A4224-2C61-4B0C-8990-66EF980A570A}" type="datetime1">
              <a:rPr lang="en-US"/>
              <a:pPr>
                <a:defRPr/>
              </a:pPr>
              <a:t>5/27/2014</a:t>
            </a:fld>
            <a:endParaRPr lang="en-US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457950"/>
            <a:ext cx="430053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38" tIns="46419" rIns="92838" bIns="46419" numCol="1" anchor="b" anchorCtr="0" compatLnSpc="1">
            <a:prstTxWarp prst="textNoShape">
              <a:avLst/>
            </a:prstTxWarp>
          </a:bodyPr>
          <a:lstStyle>
            <a:lvl1pPr defTabSz="928688">
              <a:buSzTx/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27688" y="6457950"/>
            <a:ext cx="4300537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38" tIns="46419" rIns="92838" bIns="46419" numCol="1" anchor="b" anchorCtr="0" compatLnSpc="1">
            <a:prstTxWarp prst="textNoShape">
              <a:avLst/>
            </a:prstTxWarp>
          </a:bodyPr>
          <a:lstStyle>
            <a:lvl1pPr algn="r" defTabSz="928688">
              <a:buSzTx/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2FE56462-C07A-4DF7-A76F-10BDCAD2232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0420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63625" y="874713"/>
            <a:ext cx="7743825" cy="580866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187450" y="250825"/>
            <a:ext cx="8459788" cy="220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5126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9220200" y="39688"/>
            <a:ext cx="427038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28688">
              <a:buSzTx/>
              <a:defRPr sz="800">
                <a:cs typeface="+mn-cs"/>
              </a:defRPr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858250" y="6481763"/>
            <a:ext cx="788988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28688">
              <a:buSzTx/>
              <a:defRPr sz="1200">
                <a:cs typeface="+mn-cs"/>
              </a:defRPr>
            </a:lvl1pPr>
          </a:lstStyle>
          <a:p>
            <a:pPr>
              <a:defRPr/>
            </a:pPr>
            <a:fld id="{5A838D03-526A-4861-935B-192F641AB75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37" name="McK Separator" hidden="1"/>
          <p:cNvSpPr>
            <a:spLocks noChangeShapeType="1"/>
          </p:cNvSpPr>
          <p:nvPr/>
        </p:nvSpPr>
        <p:spPr bwMode="auto">
          <a:xfrm>
            <a:off x="1190625" y="1030288"/>
            <a:ext cx="75930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buSzPct val="120000"/>
              <a:defRPr/>
            </a:pPr>
            <a:endParaRPr lang="en-US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547113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90000"/>
      </a:lnSpc>
      <a:spcBef>
        <a:spcPct val="3000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5758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09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61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12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zervirano mjesto slike slajd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9459" name="Rezervirano mjesto bilježaka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9460" name="Rezervirano mjesto broja slajda 3"/>
          <p:cNvSpPr>
            <a:spLocks noGrp="1"/>
          </p:cNvSpPr>
          <p:nvPr>
            <p:ph type="sldNum" sz="quarter" idx="5"/>
          </p:nvPr>
        </p:nvSpPr>
        <p:spPr>
          <a:xfrm>
            <a:off x="8858250" y="6479659"/>
            <a:ext cx="788988" cy="18466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360264C3-96ED-48C0-BAE5-5233148DB4CE}" type="slidenum">
              <a:rPr lang="hr-HR" sz="1200" smtClean="0"/>
              <a:pPr eaLnBrk="1" hangingPunct="1"/>
              <a:t>0</a:t>
            </a:fld>
            <a:endParaRPr lang="hr-HR" sz="1200" smtClean="0"/>
          </a:p>
        </p:txBody>
      </p:sp>
    </p:spTree>
    <p:extLst>
      <p:ext uri="{BB962C8B-B14F-4D97-AF65-F5344CB8AC3E}">
        <p14:creationId xmlns:p14="http://schemas.microsoft.com/office/powerpoint/2010/main" val="3106515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58250" y="6479659"/>
            <a:ext cx="788988" cy="184666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9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29546584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58250" y="6479659"/>
            <a:ext cx="788988" cy="184666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10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8842954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58250" y="6479659"/>
            <a:ext cx="788988" cy="184666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11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58250" y="6479659"/>
            <a:ext cx="788988" cy="184666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1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58250" y="6479659"/>
            <a:ext cx="788988" cy="184666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2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58250" y="6479659"/>
            <a:ext cx="788988" cy="184666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3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4013373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58250" y="6479659"/>
            <a:ext cx="788988" cy="184666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4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58250" y="6479659"/>
            <a:ext cx="788988" cy="184666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5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58250" y="6479659"/>
            <a:ext cx="788988" cy="184666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6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4017933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58250" y="6479659"/>
            <a:ext cx="788988" cy="184666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7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58250" y="6479659"/>
            <a:ext cx="788988" cy="184666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8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17064515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051" y="500163"/>
            <a:ext cx="7032624" cy="307777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000" dirty="0"/>
            </a:lvl1pPr>
          </a:lstStyle>
          <a:p>
            <a:pPr lvl="0" defTabSz="914400" eaLnBrk="1" hangingPunct="1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055967" y="6272213"/>
            <a:ext cx="1866900" cy="258762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3E8E7C-DDE3-4BFE-AE2F-6CB610739B9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Line 3"/>
          <p:cNvSpPr>
            <a:spLocks noChangeShapeType="1"/>
          </p:cNvSpPr>
          <p:nvPr userDrawn="1"/>
        </p:nvSpPr>
        <p:spPr bwMode="auto">
          <a:xfrm>
            <a:off x="288924" y="984250"/>
            <a:ext cx="7016751" cy="6350"/>
          </a:xfrm>
          <a:prstGeom prst="line">
            <a:avLst/>
          </a:prstGeom>
          <a:noFill/>
          <a:ln w="25400">
            <a:solidFill>
              <a:schemeClr val="accent2">
                <a:lumMod val="40000"/>
                <a:lumOff val="6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7" name="Picture 13" descr="grbhgk10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572" y="109638"/>
            <a:ext cx="6858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ACCD9C-A5E4-403D-A5E4-A06A3AD8279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790974"/>
            <a:ext cx="2947988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9"/>
            <a:ext cx="5010150" cy="239811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151" indent="0">
              <a:buNone/>
              <a:defRPr sz="1200"/>
            </a:lvl2pPr>
            <a:lvl3pPr marL="914303" indent="0">
              <a:buNone/>
              <a:defRPr sz="1000"/>
            </a:lvl3pPr>
            <a:lvl4pPr marL="1371454" indent="0">
              <a:buNone/>
              <a:defRPr sz="900"/>
            </a:lvl4pPr>
            <a:lvl5pPr marL="1828607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B8A178-8F8C-4CE0-BC34-E44EBCC7E45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953199"/>
            <a:ext cx="537686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6"/>
            <a:ext cx="5376863" cy="497721"/>
          </a:xfrm>
        </p:spPr>
        <p:txBody>
          <a:bodyPr/>
          <a:lstStyle>
            <a:lvl1pPr marL="0" indent="0">
              <a:buNone/>
              <a:defRPr sz="3200"/>
            </a:lvl1pPr>
            <a:lvl2pPr marL="457151" indent="0">
              <a:buNone/>
              <a:defRPr sz="2800"/>
            </a:lvl2pPr>
            <a:lvl3pPr marL="914303" indent="0">
              <a:buNone/>
              <a:defRPr sz="2400"/>
            </a:lvl3pPr>
            <a:lvl4pPr marL="1371454" indent="0">
              <a:buNone/>
              <a:defRPr sz="2000"/>
            </a:lvl4pPr>
            <a:lvl5pPr marL="1828607" indent="0">
              <a:buNone/>
              <a:defRPr sz="2000"/>
            </a:lvl5pPr>
            <a:lvl6pPr marL="2285758" indent="0">
              <a:buNone/>
              <a:defRPr sz="2000"/>
            </a:lvl6pPr>
            <a:lvl7pPr marL="2742909" indent="0">
              <a:buNone/>
              <a:defRPr sz="2000"/>
            </a:lvl7pPr>
            <a:lvl8pPr marL="3200061" indent="0">
              <a:buNone/>
              <a:defRPr sz="2000"/>
            </a:lvl8pPr>
            <a:lvl9pPr marL="3657212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151" indent="0">
              <a:buNone/>
              <a:defRPr sz="1200"/>
            </a:lvl2pPr>
            <a:lvl3pPr marL="914303" indent="0">
              <a:buNone/>
              <a:defRPr sz="1000"/>
            </a:lvl3pPr>
            <a:lvl4pPr marL="1371454" indent="0">
              <a:buNone/>
              <a:defRPr sz="900"/>
            </a:lvl4pPr>
            <a:lvl5pPr marL="1828607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743826-68FB-4865-B13A-B626556F763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608162" y="1287464"/>
            <a:ext cx="3200876" cy="12223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9FBC4F-6869-438C-A15D-4CE9770C6F8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25851" y="263526"/>
            <a:ext cx="584775" cy="224631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09199" y="263526"/>
            <a:ext cx="1477328" cy="224631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C15DE9-F11E-46A7-AEC2-BAEFB5A9BB3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9" y="263526"/>
            <a:ext cx="8688387" cy="2923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122238" y="1287464"/>
            <a:ext cx="8686800" cy="246221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4FB2DC-089A-4767-928B-436CF45761C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Naslov i grafik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122239" y="263526"/>
            <a:ext cx="8688387" cy="292388"/>
          </a:xfrm>
        </p:spPr>
        <p:txBody>
          <a:bodyPr/>
          <a:lstStyle/>
          <a:p>
            <a:r>
              <a:rPr lang="hr-HR" smtClean="0"/>
              <a:t>Kliknite da biste uredili stil naslova matrice</a:t>
            </a:r>
            <a:endParaRPr lang="hr-HR"/>
          </a:p>
        </p:txBody>
      </p:sp>
      <p:sp>
        <p:nvSpPr>
          <p:cNvPr id="3" name="Rezervirano mjesto grafikona 2"/>
          <p:cNvSpPr>
            <a:spLocks noGrp="1"/>
          </p:cNvSpPr>
          <p:nvPr>
            <p:ph type="chart" idx="1"/>
          </p:nvPr>
        </p:nvSpPr>
        <p:spPr>
          <a:xfrm>
            <a:off x="122238" y="1287464"/>
            <a:ext cx="8686800" cy="246221"/>
          </a:xfrm>
        </p:spPr>
        <p:txBody>
          <a:bodyPr/>
          <a:lstStyle/>
          <a:p>
            <a:pPr lvl="0"/>
            <a:endParaRPr lang="hr-HR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9FA4FC-5830-44F4-88B7-360AF51940A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0091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5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263525"/>
            <a:ext cx="868838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title style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2238" y="1287463"/>
            <a:ext cx="868680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</a:p>
        </p:txBody>
      </p:sp>
      <p:sp>
        <p:nvSpPr>
          <p:cNvPr id="14950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62788" y="6472238"/>
            <a:ext cx="1866900" cy="258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61" tIns="38480" rIns="76961" bIns="3848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buSzTx/>
              <a:defRPr sz="1200">
                <a:cs typeface="+mn-cs"/>
              </a:defRPr>
            </a:lvl1pPr>
          </a:lstStyle>
          <a:p>
            <a:pPr>
              <a:defRPr/>
            </a:pPr>
            <a:fld id="{D9C24C58-C3C9-40C7-BBD0-26523099A42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grpSp>
        <p:nvGrpSpPr>
          <p:cNvPr id="14341" name="McK Slide Elements"/>
          <p:cNvGrpSpPr>
            <a:grpSpLocks/>
          </p:cNvGrpSpPr>
          <p:nvPr/>
        </p:nvGrpSpPr>
        <p:grpSpPr bwMode="auto">
          <a:xfrm>
            <a:off x="123825" y="609600"/>
            <a:ext cx="8628063" cy="6064250"/>
            <a:chOff x="78" y="384"/>
            <a:chExt cx="5435" cy="3820"/>
          </a:xfrm>
        </p:grpSpPr>
        <p:sp>
          <p:nvSpPr>
            <p:cNvPr id="149510" name="McK Footnote" hidden="1"/>
            <p:cNvSpPr>
              <a:spLocks noChangeArrowheads="1"/>
            </p:cNvSpPr>
            <p:nvPr userDrawn="1"/>
          </p:nvSpPr>
          <p:spPr bwMode="auto">
            <a:xfrm>
              <a:off x="86" y="3994"/>
              <a:ext cx="5427" cy="2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490486" indent="-490486" defTabSz="698426" eaLnBrk="0" hangingPunct="0">
                <a:spcAft>
                  <a:spcPts val="175"/>
                </a:spcAft>
                <a:tabLst>
                  <a:tab pos="447628" algn="r"/>
                </a:tabLst>
                <a:defRPr/>
              </a:pPr>
              <a:r>
                <a:rPr lang="en-GB" sz="1000" dirty="0">
                  <a:solidFill>
                    <a:srgbClr val="000000"/>
                  </a:solidFill>
                  <a:cs typeface="+mn-cs"/>
                </a:rPr>
                <a:t>	*	Footnote</a:t>
              </a:r>
            </a:p>
            <a:p>
              <a:pPr marL="490486" indent="-490486" defTabSz="698426" eaLnBrk="0" hangingPunct="0">
                <a:spcAft>
                  <a:spcPts val="175"/>
                </a:spcAft>
                <a:tabLst>
                  <a:tab pos="447628" algn="r"/>
                </a:tabLst>
                <a:defRPr/>
              </a:pPr>
              <a:r>
                <a:rPr lang="en-GB" sz="1000" dirty="0">
                  <a:solidFill>
                    <a:srgbClr val="000000"/>
                  </a:solidFill>
                  <a:cs typeface="+mn-cs"/>
                </a:rPr>
                <a:t>	</a:t>
              </a:r>
              <a:r>
                <a:rPr lang="en-GB" sz="1000" dirty="0" err="1">
                  <a:solidFill>
                    <a:srgbClr val="000000"/>
                  </a:solidFill>
                  <a:cs typeface="+mn-cs"/>
                </a:rPr>
                <a:t>Quelle</a:t>
              </a:r>
              <a:r>
                <a:rPr lang="en-GB" sz="1000" dirty="0">
                  <a:solidFill>
                    <a:srgbClr val="000000"/>
                  </a:solidFill>
                  <a:cs typeface="+mn-cs"/>
                </a:rPr>
                <a:t>:	Sources</a:t>
              </a:r>
            </a:p>
          </p:txBody>
        </p:sp>
        <p:sp>
          <p:nvSpPr>
            <p:cNvPr id="149511" name="McK Measure" hidden="1"/>
            <p:cNvSpPr>
              <a:spLocks noChangeArrowheads="1"/>
            </p:cNvSpPr>
            <p:nvPr userDrawn="1"/>
          </p:nvSpPr>
          <p:spPr bwMode="auto">
            <a:xfrm>
              <a:off x="78" y="384"/>
              <a:ext cx="4168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769857" eaLnBrk="0" hangingPunct="0">
                <a:defRPr/>
              </a:pPr>
              <a:r>
                <a:rPr lang="en-GB" dirty="0">
                  <a:cs typeface="+mn-cs"/>
                </a:rPr>
                <a:t>Unit of measure</a:t>
              </a:r>
            </a:p>
          </p:txBody>
        </p:sp>
      </p:grpSp>
      <p:sp>
        <p:nvSpPr>
          <p:cNvPr id="149512" name="doc id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991225" y="25400"/>
            <a:ext cx="2819400" cy="2016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78532" tIns="39266" rIns="78532" bIns="39266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buSzTx/>
              <a:defRPr sz="800">
                <a:solidFill>
                  <a:srgbClr val="000000"/>
                </a:solidFill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1" r:id="rId2"/>
    <p:sldLayoutId id="2147483810" r:id="rId3"/>
    <p:sldLayoutId id="2147483809" r:id="rId4"/>
    <p:sldLayoutId id="2147483808" r:id="rId5"/>
    <p:sldLayoutId id="2147483807" r:id="rId6"/>
    <p:sldLayoutId id="2147483806" r:id="rId7"/>
    <p:sldLayoutId id="2147483805" r:id="rId8"/>
  </p:sldLayoutIdLst>
  <p:hf hdr="0" ftr="0" dt="0"/>
  <p:txStyles>
    <p:titleStyle>
      <a:lvl1pPr algn="l" defTabSz="768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+mj-lt"/>
          <a:ea typeface="+mj-ea"/>
          <a:cs typeface="+mj-cs"/>
        </a:defRPr>
      </a:lvl1pPr>
      <a:lvl2pPr algn="l" defTabSz="768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charset="0"/>
          <a:cs typeface="Arial" charset="0"/>
        </a:defRPr>
      </a:lvl2pPr>
      <a:lvl3pPr algn="l" defTabSz="768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charset="0"/>
          <a:cs typeface="Arial" charset="0"/>
        </a:defRPr>
      </a:lvl3pPr>
      <a:lvl4pPr algn="l" defTabSz="768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charset="0"/>
          <a:cs typeface="Arial" charset="0"/>
        </a:defRPr>
      </a:lvl4pPr>
      <a:lvl5pPr algn="l" defTabSz="768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charset="0"/>
          <a:cs typeface="Arial" charset="0"/>
        </a:defRPr>
      </a:lvl5pPr>
      <a:lvl6pPr marL="457151" algn="l" defTabSz="769857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charset="0"/>
          <a:cs typeface="Arial" charset="0"/>
        </a:defRPr>
      </a:lvl6pPr>
      <a:lvl7pPr marL="914303" algn="l" defTabSz="769857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charset="0"/>
          <a:cs typeface="Arial" charset="0"/>
        </a:defRPr>
      </a:lvl7pPr>
      <a:lvl8pPr marL="1371454" algn="l" defTabSz="769857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charset="0"/>
          <a:cs typeface="Arial" charset="0"/>
        </a:defRPr>
      </a:lvl8pPr>
      <a:lvl9pPr marL="1828607" algn="l" defTabSz="769857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charset="0"/>
          <a:cs typeface="Arial" charset="0"/>
        </a:defRPr>
      </a:lvl9pPr>
    </p:titleStyle>
    <p:bodyStyle>
      <a:lvl1pPr marL="341313" indent="-341313" algn="l" defTabSz="768350" rtl="0" eaLnBrk="0" fontAlgn="base" hangingPunct="0">
        <a:spcBef>
          <a:spcPct val="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28588" indent="-127000" algn="l" defTabSz="768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293688" indent="-161925" algn="l" defTabSz="768350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430213" indent="-133350" algn="l" defTabSz="768350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  <a:cs typeface="+mn-cs"/>
        </a:defRPr>
      </a:lvl4pPr>
      <a:lvl5pPr marL="587375" indent="-153988" algn="l" defTabSz="768350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046052" indent="-155558" algn="l" defTabSz="769857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1503203" indent="-155558" algn="l" defTabSz="769857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1960355" indent="-155558" algn="l" defTabSz="769857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2417507" indent="-155558" algn="l" defTabSz="769857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oleObject" Target="../embeddings/oleObject13.bin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image" Target="../media/image1.emf"/><Relationship Id="rId2" Type="http://schemas.openxmlformats.org/officeDocument/2006/relationships/tags" Target="../tags/tag41.xml"/><Relationship Id="rId16" Type="http://schemas.openxmlformats.org/officeDocument/2006/relationships/oleObject" Target="../embeddings/oleObject12.bin"/><Relationship Id="rId1" Type="http://schemas.openxmlformats.org/officeDocument/2006/relationships/vmlDrawing" Target="../drawings/vmlDrawing8.v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5" Type="http://schemas.openxmlformats.org/officeDocument/2006/relationships/tags" Target="../tags/tag44.xml"/><Relationship Id="rId15" Type="http://schemas.openxmlformats.org/officeDocument/2006/relationships/notesSlide" Target="../notesSlides/notesSlide10.xml"/><Relationship Id="rId10" Type="http://schemas.openxmlformats.org/officeDocument/2006/relationships/tags" Target="../tags/tag49.xml"/><Relationship Id="rId19" Type="http://schemas.openxmlformats.org/officeDocument/2006/relationships/image" Target="../media/image8.emf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tags" Target="../tags/tag64.xml"/><Relationship Id="rId18" Type="http://schemas.openxmlformats.org/officeDocument/2006/relationships/oleObject" Target="../embeddings/oleObject15.bin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tags" Target="../tags/tag63.xml"/><Relationship Id="rId17" Type="http://schemas.openxmlformats.org/officeDocument/2006/relationships/image" Target="../media/image1.emf"/><Relationship Id="rId2" Type="http://schemas.openxmlformats.org/officeDocument/2006/relationships/tags" Target="../tags/tag53.xml"/><Relationship Id="rId16" Type="http://schemas.openxmlformats.org/officeDocument/2006/relationships/oleObject" Target="../embeddings/oleObject14.bin"/><Relationship Id="rId1" Type="http://schemas.openxmlformats.org/officeDocument/2006/relationships/vmlDrawing" Target="../drawings/vmlDrawing9.v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5" Type="http://schemas.openxmlformats.org/officeDocument/2006/relationships/tags" Target="../tags/tag56.xml"/><Relationship Id="rId15" Type="http://schemas.openxmlformats.org/officeDocument/2006/relationships/notesSlide" Target="../notesSlides/notesSlide11.xml"/><Relationship Id="rId10" Type="http://schemas.openxmlformats.org/officeDocument/2006/relationships/tags" Target="../tags/tag61.xml"/><Relationship Id="rId19" Type="http://schemas.openxmlformats.org/officeDocument/2006/relationships/image" Target="../media/image9.emf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1.xml"/><Relationship Id="rId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slideLayout" Target="../slideLayouts/slideLayout1.xml"/><Relationship Id="rId18" Type="http://schemas.openxmlformats.org/officeDocument/2006/relationships/image" Target="../media/image5.emf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oleObject" Target="../embeddings/oleObject7.bin"/><Relationship Id="rId2" Type="http://schemas.openxmlformats.org/officeDocument/2006/relationships/tags" Target="../tags/tag6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5.v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18" Type="http://schemas.openxmlformats.org/officeDocument/2006/relationships/oleObject" Target="../embeddings/oleObject9.bin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17" Type="http://schemas.openxmlformats.org/officeDocument/2006/relationships/image" Target="../media/image1.emf"/><Relationship Id="rId2" Type="http://schemas.openxmlformats.org/officeDocument/2006/relationships/tags" Target="../tags/tag17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6.v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5" Type="http://schemas.openxmlformats.org/officeDocument/2006/relationships/tags" Target="../tags/tag20.xml"/><Relationship Id="rId15" Type="http://schemas.openxmlformats.org/officeDocument/2006/relationships/notesSlide" Target="../notesSlides/notesSlide8.xml"/><Relationship Id="rId10" Type="http://schemas.openxmlformats.org/officeDocument/2006/relationships/tags" Target="../tags/tag25.xml"/><Relationship Id="rId19" Type="http://schemas.openxmlformats.org/officeDocument/2006/relationships/image" Target="../media/image6.emf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18" Type="http://schemas.openxmlformats.org/officeDocument/2006/relationships/oleObject" Target="../embeddings/oleObject11.bin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image" Target="../media/image1.emf"/><Relationship Id="rId2" Type="http://schemas.openxmlformats.org/officeDocument/2006/relationships/tags" Target="../tags/tag29.xml"/><Relationship Id="rId16" Type="http://schemas.openxmlformats.org/officeDocument/2006/relationships/oleObject" Target="../embeddings/oleObject10.bin"/><Relationship Id="rId1" Type="http://schemas.openxmlformats.org/officeDocument/2006/relationships/vmlDrawing" Target="../drawings/vmlDrawing7.v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5" Type="http://schemas.openxmlformats.org/officeDocument/2006/relationships/tags" Target="../tags/tag32.xml"/><Relationship Id="rId15" Type="http://schemas.openxmlformats.org/officeDocument/2006/relationships/notesSlide" Target="../notesSlides/notesSlide9.xml"/><Relationship Id="rId10" Type="http://schemas.openxmlformats.org/officeDocument/2006/relationships/tags" Target="../tags/tag37.xml"/><Relationship Id="rId19" Type="http://schemas.openxmlformats.org/officeDocument/2006/relationships/image" Target="../media/image7.emf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ext Box 6"/>
          <p:cNvSpPr txBox="1">
            <a:spLocks noChangeArrowheads="1"/>
          </p:cNvSpPr>
          <p:nvPr/>
        </p:nvSpPr>
        <p:spPr bwMode="auto">
          <a:xfrm>
            <a:off x="1269537" y="522781"/>
            <a:ext cx="5600899" cy="382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>
            <a:defPPr>
              <a:defRPr lang="en-US"/>
            </a:defPPr>
            <a:lvl1pPr>
              <a:defRPr sz="1900" b="1">
                <a:solidFill>
                  <a:schemeClr val="accent2"/>
                </a:solidFill>
              </a:defRPr>
            </a:lvl1pPr>
          </a:lstStyle>
          <a:p>
            <a:r>
              <a:rPr lang="hr-HR" dirty="0">
                <a:latin typeface="Tahoma" pitchFamily="34" charset="0"/>
                <a:ea typeface="Tahoma" pitchFamily="34" charset="0"/>
                <a:cs typeface="Tahoma" pitchFamily="34" charset="0"/>
              </a:rPr>
              <a:t>HRVATSKA GOSPODARSKA KOMORA</a:t>
            </a:r>
            <a:endParaRPr lang="en-US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7895" name="Text Box 7"/>
          <p:cNvSpPr txBox="1">
            <a:spLocks noChangeArrowheads="1"/>
          </p:cNvSpPr>
          <p:nvPr/>
        </p:nvSpPr>
        <p:spPr bwMode="auto">
          <a:xfrm>
            <a:off x="1260202" y="2746126"/>
            <a:ext cx="6140723" cy="1937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11" tIns="44806" rIns="89611" bIns="44806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hr-HR" b="1" dirty="0">
                <a:solidFill>
                  <a:srgbClr val="003366"/>
                </a:solidFill>
                <a:latin typeface="Tahoma" pitchFamily="34" charset="0"/>
                <a:cs typeface="Tahoma" pitchFamily="34" charset="0"/>
              </a:rPr>
              <a:t>PROIZVODNJA, UVOZ I IZVOZ, POTROŠNJA AMBALAŽE </a:t>
            </a:r>
            <a:endParaRPr lang="hr-HR" b="1" dirty="0" smtClean="0">
              <a:solidFill>
                <a:srgbClr val="003366"/>
              </a:solidFill>
              <a:latin typeface="Tahoma" pitchFamily="34" charset="0"/>
              <a:cs typeface="Tahoma" pitchFamily="34" charset="0"/>
            </a:endParaRPr>
          </a:p>
          <a:p>
            <a:r>
              <a:rPr lang="hr-HR" b="1" dirty="0" smtClean="0">
                <a:solidFill>
                  <a:srgbClr val="003366"/>
                </a:solidFill>
                <a:latin typeface="Tahoma" pitchFamily="34" charset="0"/>
                <a:cs typeface="Tahoma" pitchFamily="34" charset="0"/>
              </a:rPr>
              <a:t>U RH</a:t>
            </a:r>
            <a:endParaRPr lang="en-US" b="1" dirty="0" smtClean="0">
              <a:solidFill>
                <a:srgbClr val="003366"/>
              </a:solidFill>
              <a:latin typeface="Tahoma" pitchFamily="34" charset="0"/>
              <a:cs typeface="Tahoma" pitchFamily="34" charset="0"/>
            </a:endParaRPr>
          </a:p>
          <a:p>
            <a:pPr algn="ctr"/>
            <a:endParaRPr lang="en-US" b="1" dirty="0">
              <a:solidFill>
                <a:srgbClr val="003366"/>
              </a:solidFill>
            </a:endParaRPr>
          </a:p>
          <a:p>
            <a:pPr algn="ctr"/>
            <a:endParaRPr lang="en-US" b="1" dirty="0">
              <a:solidFill>
                <a:srgbClr val="000099"/>
              </a:solidFill>
            </a:endParaRPr>
          </a:p>
        </p:txBody>
      </p:sp>
      <p:sp>
        <p:nvSpPr>
          <p:cNvPr id="37898" name="Text Box 10"/>
          <p:cNvSpPr txBox="1">
            <a:spLocks noChangeArrowheads="1"/>
          </p:cNvSpPr>
          <p:nvPr/>
        </p:nvSpPr>
        <p:spPr bwMode="auto">
          <a:xfrm>
            <a:off x="910244" y="5084672"/>
            <a:ext cx="2688431" cy="398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/>
            <a:r>
              <a:rPr lang="hr-HR" sz="2000" dirty="0">
                <a:solidFill>
                  <a:srgbClr val="003366"/>
                </a:solidFill>
                <a:latin typeface="Tahoma" pitchFamily="34" charset="0"/>
                <a:cs typeface="Tahoma" pitchFamily="34" charset="0"/>
              </a:rPr>
              <a:t>Za </a:t>
            </a:r>
            <a:r>
              <a:rPr lang="hr-HR" sz="2000" dirty="0" smtClean="0">
                <a:solidFill>
                  <a:srgbClr val="003366"/>
                </a:solidFill>
                <a:latin typeface="Tahoma" pitchFamily="34" charset="0"/>
                <a:cs typeface="Tahoma" pitchFamily="34" charset="0"/>
              </a:rPr>
              <a:t>2013. </a:t>
            </a:r>
            <a:r>
              <a:rPr lang="hr-HR" sz="2000" dirty="0">
                <a:solidFill>
                  <a:srgbClr val="003366"/>
                </a:solidFill>
                <a:latin typeface="Tahoma" pitchFamily="34" charset="0"/>
                <a:cs typeface="Tahoma" pitchFamily="34" charset="0"/>
              </a:rPr>
              <a:t>godinu</a:t>
            </a:r>
            <a:endParaRPr lang="en-US" sz="2000" dirty="0">
              <a:solidFill>
                <a:srgbClr val="003366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2053" name="Picture 13" descr="grbhgk10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429" y="597464"/>
            <a:ext cx="591206" cy="821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4" name="Text Box 14"/>
          <p:cNvSpPr txBox="1">
            <a:spLocks noChangeArrowheads="1"/>
          </p:cNvSpPr>
          <p:nvPr/>
        </p:nvSpPr>
        <p:spPr bwMode="auto">
          <a:xfrm>
            <a:off x="1269537" y="829522"/>
            <a:ext cx="5600899" cy="67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>
            <a:defPPr>
              <a:defRPr lang="en-US"/>
            </a:defPPr>
            <a:lvl1pPr>
              <a:defRPr sz="1900" b="1">
                <a:solidFill>
                  <a:schemeClr val="accent2"/>
                </a:solidFill>
              </a:defRPr>
            </a:lvl1pPr>
          </a:lstStyle>
          <a:p>
            <a:r>
              <a:rPr lang="hr-HR" sz="1700" b="0" dirty="0">
                <a:latin typeface="Tahoma" pitchFamily="34" charset="0"/>
                <a:ea typeface="Tahoma" pitchFamily="34" charset="0"/>
                <a:cs typeface="Tahoma" pitchFamily="34" charset="0"/>
              </a:rPr>
              <a:t>Sektor za industriju</a:t>
            </a:r>
          </a:p>
          <a:p>
            <a:r>
              <a:rPr lang="hr-HR" sz="1700" b="0" dirty="0">
                <a:latin typeface="Tahoma" pitchFamily="34" charset="0"/>
                <a:ea typeface="Tahoma" pitchFamily="34" charset="0"/>
                <a:cs typeface="Tahoma" pitchFamily="34" charset="0"/>
              </a:rPr>
              <a:t>Zajednica </a:t>
            </a:r>
            <a:r>
              <a:rPr lang="hr-HR" sz="1700" b="0" dirty="0" err="1">
                <a:latin typeface="Tahoma" pitchFamily="34" charset="0"/>
                <a:ea typeface="Tahoma" pitchFamily="34" charset="0"/>
                <a:cs typeface="Tahoma" pitchFamily="34" charset="0"/>
              </a:rPr>
              <a:t>ambalažera</a:t>
            </a:r>
            <a:r>
              <a:rPr lang="hr-HR" sz="1700" b="0" dirty="0">
                <a:latin typeface="Tahoma" pitchFamily="34" charset="0"/>
                <a:ea typeface="Tahoma" pitchFamily="34" charset="0"/>
                <a:cs typeface="Tahoma" pitchFamily="34" charset="0"/>
              </a:rPr>
              <a:t> Hrvatska</a:t>
            </a:r>
            <a:endParaRPr lang="en-US" sz="1700" b="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0474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416783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4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ravokutnik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456535" cy="246221"/>
          </a:xfrm>
          <a:prstGeom prst="rect">
            <a:avLst/>
          </a:prstGeom>
          <a:solidFill>
            <a:scrgbClr r="0" g="0" b="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95350">
              <a:buSzPct val="120000"/>
            </a:pPr>
            <a:endParaRPr kumimoji="0" lang="hr-HR" sz="1000" b="1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98" name="Rectangle 3"/>
          <p:cNvSpPr>
            <a:spLocks noChangeArrowheads="1"/>
          </p:cNvSpPr>
          <p:nvPr/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hr-HR" sz="2000" b="1" dirty="0">
                <a:solidFill>
                  <a:schemeClr val="accent2"/>
                </a:solidFill>
              </a:rPr>
              <a:t>Proizvodnja ambalaže u RH – statistički podaci</a:t>
            </a:r>
          </a:p>
        </p:txBody>
      </p:sp>
      <p:sp>
        <p:nvSpPr>
          <p:cNvPr id="9" name="Rezervirano mjesto broja slajda 3"/>
          <p:cNvSpPr txBox="1">
            <a:spLocks noGrp="1"/>
          </p:cNvSpPr>
          <p:nvPr/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9</a:t>
            </a:fld>
            <a:endParaRPr lang="hr-HR" sz="12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/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5"/>
          <p:cNvSpPr txBox="1">
            <a:spLocks/>
          </p:cNvSpPr>
          <p:nvPr/>
        </p:nvSpPr>
        <p:spPr>
          <a:xfrm>
            <a:off x="216636" y="1282883"/>
            <a:ext cx="8064500" cy="7554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hr-HR" dirty="0" smtClean="0"/>
              <a:t>AMBALAŽA OD STAKLA - PROIZVODNJA U REPUBLICI HRVATSKOJ </a:t>
            </a:r>
          </a:p>
        </p:txBody>
      </p:sp>
      <p:sp>
        <p:nvSpPr>
          <p:cNvPr id="12" name="TekstniOkvir 10"/>
          <p:cNvSpPr txBox="1">
            <a:spLocks noChangeArrowheads="1"/>
          </p:cNvSpPr>
          <p:nvPr/>
        </p:nvSpPr>
        <p:spPr bwMode="auto">
          <a:xfrm>
            <a:off x="2330391" y="2111376"/>
            <a:ext cx="463238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400" b="1" dirty="0" smtClean="0">
                <a:latin typeface="Calibri" pitchFamily="34" charset="0"/>
                <a:cs typeface="Calibri" pitchFamily="34" charset="0"/>
              </a:rPr>
              <a:t>Proizvede količine u razdoblju 2006 – 2013 , </a:t>
            </a:r>
            <a:r>
              <a:rPr lang="hr-HR" sz="1400" b="1" i="1" dirty="0" smtClean="0">
                <a:latin typeface="Calibri" pitchFamily="34" charset="0"/>
                <a:cs typeface="Calibri" pitchFamily="34" charset="0"/>
              </a:rPr>
              <a:t>(u  000 tona)</a:t>
            </a:r>
            <a:endParaRPr lang="hr-HR" sz="1400" b="1" i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Pravokutnik 1"/>
          <p:cNvSpPr>
            <a:spLocks noChangeArrowheads="1"/>
          </p:cNvSpPr>
          <p:nvPr/>
        </p:nvSpPr>
        <p:spPr bwMode="auto">
          <a:xfrm>
            <a:off x="1790525" y="2622495"/>
            <a:ext cx="816091" cy="228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11" tIns="44806" rIns="89611" bIns="44806">
            <a:spAutoFit/>
          </a:bodyPr>
          <a:lstStyle/>
          <a:p>
            <a:pPr eaLnBrk="0" hangingPunct="0"/>
            <a:r>
              <a:rPr lang="pl-PL" sz="900" b="1" dirty="0" smtClean="0">
                <a:solidFill>
                  <a:srgbClr val="003366"/>
                </a:solidFill>
                <a:latin typeface="Calibri" pitchFamily="34" charset="0"/>
                <a:cs typeface="Calibri" pitchFamily="34" charset="0"/>
              </a:rPr>
              <a:t>U 000 tona</a:t>
            </a:r>
            <a:endParaRPr lang="hr-HR" sz="900" b="1" dirty="0">
              <a:solidFill>
                <a:srgbClr val="00336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Pravokutnik 1"/>
          <p:cNvSpPr>
            <a:spLocks noChangeArrowheads="1"/>
          </p:cNvSpPr>
          <p:nvPr/>
        </p:nvSpPr>
        <p:spPr bwMode="auto">
          <a:xfrm>
            <a:off x="193558" y="6137153"/>
            <a:ext cx="8541371" cy="259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/>
          <a:p>
            <a:pPr eaLnBrk="0" hangingPunct="0"/>
            <a:r>
              <a:rPr lang="hr-HR" sz="1100" b="1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*</a:t>
            </a:r>
            <a:r>
              <a:rPr lang="hr-HR" sz="1100" b="1" i="1" dirty="0">
                <a:solidFill>
                  <a:srgbClr val="003366"/>
                </a:solidFill>
                <a:latin typeface="+mj-lt"/>
                <a:cs typeface="Tahoma" pitchFamily="34" charset="0"/>
              </a:rPr>
              <a:t>Izvor: </a:t>
            </a:r>
            <a:r>
              <a:rPr lang="hr-HR" sz="1100" b="1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 </a:t>
            </a:r>
            <a:r>
              <a:rPr lang="hr-HR" sz="1100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podaci </a:t>
            </a:r>
            <a:r>
              <a:rPr lang="hr-HR" sz="1100" i="1" dirty="0">
                <a:solidFill>
                  <a:srgbClr val="003366"/>
                </a:solidFill>
                <a:latin typeface="+mj-lt"/>
                <a:cs typeface="Tahoma" pitchFamily="34" charset="0"/>
              </a:rPr>
              <a:t>Državnog zavod za </a:t>
            </a:r>
            <a:r>
              <a:rPr lang="hr-HR" sz="1100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statistiku</a:t>
            </a:r>
            <a:endParaRPr lang="hr-HR" sz="1100" i="1" dirty="0">
              <a:solidFill>
                <a:srgbClr val="003366"/>
              </a:solidFill>
              <a:latin typeface="+mj-lt"/>
              <a:cs typeface="Tahoma" pitchFamily="34" charset="0"/>
            </a:endParaRPr>
          </a:p>
        </p:txBody>
      </p:sp>
      <p:sp>
        <p:nvSpPr>
          <p:cNvPr id="14" name="TekstniOkvir 10"/>
          <p:cNvSpPr txBox="1">
            <a:spLocks noChangeArrowheads="1"/>
          </p:cNvSpPr>
          <p:nvPr/>
        </p:nvSpPr>
        <p:spPr bwMode="auto">
          <a:xfrm>
            <a:off x="7125362" y="2487945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400" b="1" i="1" dirty="0" smtClean="0">
                <a:latin typeface="Calibri" pitchFamily="34" charset="0"/>
                <a:cs typeface="Calibri" pitchFamily="34" charset="0"/>
              </a:rPr>
              <a:t>CAGR %</a:t>
            </a:r>
            <a:endParaRPr lang="hr-HR" sz="1400" b="1" i="1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6" name="Objekt 1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61559021"/>
              </p:ext>
            </p:extLst>
          </p:nvPr>
        </p:nvGraphicFramePr>
        <p:xfrm>
          <a:off x="1828800" y="2590801"/>
          <a:ext cx="5667353" cy="31622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5" name="Grafikon" r:id="rId18" imgW="5667353" imgH="3162287" progId="MSGraph.Chart.8">
                  <p:embed followColorScheme="full"/>
                </p:oleObj>
              </mc:Choice>
              <mc:Fallback>
                <p:oleObj name="Grafikon" r:id="rId18" imgW="5667353" imgH="316228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828800" y="2590801"/>
                        <a:ext cx="5667353" cy="31622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zervirano mjesto teksta 7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139950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6110EE5F-AFF0-44F2-B066-A8F9811C467B}" type="datetime'''''''''''2''''''0''''''0''''''''''''''''6'''''''''''''''''''">
              <a:rPr lang="en-US" sz="1000" b="1"/>
              <a:pPr/>
              <a:t>2006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zervirano mjesto teksta 28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226175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950CA0AE-F924-481E-9F9F-FC4BB876A568}" type="datetime'''''''''''''''''''''''2''''''0''''''''''''1''''2'''''''">
              <a:rPr lang="en-US" sz="1000" b="1"/>
              <a:pPr/>
              <a:t>2012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Rezervirano mjesto teksta 26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302500" y="4200525"/>
            <a:ext cx="3619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fld id="{F80CDA1D-CCFA-4392-8CC7-9367100F4180}" type="datetime'''''''+''''''''''''''''''''''''''2'''''',''''4''''''''%'''">
              <a:rPr lang="en-US" sz="1000" b="1"/>
              <a:pPr/>
              <a:t>+2,4%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zervirano mjesto teksta 30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907213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538438FB-BD3C-4DCF-90DC-D6870028C370}" type="datetime'''''2''''''''''''''''01''''''''''''''''''3'''''''''''">
              <a:rPr lang="en-US" sz="1000" b="1"/>
              <a:pPr/>
              <a:t>2013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zervirano mjesto teksta 9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502025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66E4C4BE-8635-4175-9959-A633E27DD019}" type="datetime'''''''2''''''''''''0''''''''''''''''''''''''''0''''''8'''''">
              <a:rPr lang="en-US" sz="1000" b="1"/>
              <a:pPr/>
              <a:t>2008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Rezervirano mjesto teksta 17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864100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AB1A4CD4-6907-4255-A44F-640410D7F4F2}" type="datetime'''''''''''''''''''''''2''0''''''1''''0'''''''''''''''">
              <a:rPr lang="en-US" sz="1000" b="1"/>
              <a:pPr/>
              <a:t>2010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Rezervirano mjesto teksta 23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545138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0371A260-5BD3-4529-95AD-B202D366C8F8}" type="datetime'''''''''''''''''2''''''''''''''0''''''''11'''''''''''''">
              <a:rPr lang="en-US" sz="1000" b="1"/>
              <a:pPr/>
              <a:t>2011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Rezervirano mjesto teksta 16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183063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0B6BB122-CC9E-48FD-BF03-F4C47CFBEC92}" type="datetime'2''''''''0''''''''''''''''''0''''''9'''">
              <a:rPr lang="en-US" sz="1000" b="1"/>
              <a:pPr/>
              <a:t>2009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Rezervirano mjesto teksta 8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820988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C2862FE2-19A2-4739-A075-B50E27B19C4B}" type="datetime'''''''''''''''''2''''''''''''''0''0''7'''''''''''">
              <a:rPr lang="en-US" sz="1000" b="1"/>
              <a:pPr/>
              <a:t>2007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079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74507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8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ravokutnik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456535" cy="246221"/>
          </a:xfrm>
          <a:prstGeom prst="rect">
            <a:avLst/>
          </a:prstGeom>
          <a:solidFill>
            <a:scrgbClr r="0" g="0" b="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95350">
              <a:buSzPct val="120000"/>
            </a:pPr>
            <a:endParaRPr kumimoji="0" lang="hr-HR" sz="1000" b="1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98" name="Rectangle 3"/>
          <p:cNvSpPr>
            <a:spLocks noChangeArrowheads="1"/>
          </p:cNvSpPr>
          <p:nvPr/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hr-HR" sz="2000" b="1" dirty="0">
                <a:solidFill>
                  <a:schemeClr val="accent2"/>
                </a:solidFill>
              </a:rPr>
              <a:t>Proizvodnja ambalaže u RH – statistički podaci</a:t>
            </a:r>
          </a:p>
        </p:txBody>
      </p:sp>
      <p:sp>
        <p:nvSpPr>
          <p:cNvPr id="9" name="Rezervirano mjesto broja slajda 3"/>
          <p:cNvSpPr txBox="1">
            <a:spLocks noGrp="1"/>
          </p:cNvSpPr>
          <p:nvPr/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0</a:t>
            </a:fld>
            <a:endParaRPr lang="hr-HR" sz="12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/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5"/>
          <p:cNvSpPr txBox="1">
            <a:spLocks/>
          </p:cNvSpPr>
          <p:nvPr/>
        </p:nvSpPr>
        <p:spPr>
          <a:xfrm>
            <a:off x="216636" y="1282883"/>
            <a:ext cx="8064500" cy="7554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hr-HR" dirty="0" smtClean="0"/>
              <a:t>AMBALAŽA OD METALA - PROIZVODNJA U REPUBLICI HRVATSKOJ </a:t>
            </a:r>
          </a:p>
        </p:txBody>
      </p:sp>
      <p:sp>
        <p:nvSpPr>
          <p:cNvPr id="12" name="TekstniOkvir 10"/>
          <p:cNvSpPr txBox="1">
            <a:spLocks noChangeArrowheads="1"/>
          </p:cNvSpPr>
          <p:nvPr/>
        </p:nvSpPr>
        <p:spPr bwMode="auto">
          <a:xfrm>
            <a:off x="2330391" y="2111376"/>
            <a:ext cx="463238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400" b="1" dirty="0" smtClean="0">
                <a:latin typeface="Calibri" pitchFamily="34" charset="0"/>
                <a:cs typeface="Calibri" pitchFamily="34" charset="0"/>
              </a:rPr>
              <a:t>Proizvede količine u razdoblju 2006 – 2013 , </a:t>
            </a:r>
            <a:r>
              <a:rPr lang="hr-HR" sz="1400" b="1" i="1" dirty="0" smtClean="0">
                <a:latin typeface="Calibri" pitchFamily="34" charset="0"/>
                <a:cs typeface="Calibri" pitchFamily="34" charset="0"/>
              </a:rPr>
              <a:t>(u  000 tona)</a:t>
            </a:r>
            <a:endParaRPr lang="hr-HR" sz="1400" b="1" i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Pravokutnik 1"/>
          <p:cNvSpPr>
            <a:spLocks noChangeArrowheads="1"/>
          </p:cNvSpPr>
          <p:nvPr/>
        </p:nvSpPr>
        <p:spPr bwMode="auto">
          <a:xfrm>
            <a:off x="1790525" y="2622495"/>
            <a:ext cx="816091" cy="228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11" tIns="44806" rIns="89611" bIns="44806">
            <a:spAutoFit/>
          </a:bodyPr>
          <a:lstStyle/>
          <a:p>
            <a:pPr eaLnBrk="0" hangingPunct="0"/>
            <a:r>
              <a:rPr lang="pl-PL" sz="900" b="1" dirty="0" smtClean="0">
                <a:solidFill>
                  <a:srgbClr val="003366"/>
                </a:solidFill>
                <a:latin typeface="Calibri" pitchFamily="34" charset="0"/>
                <a:cs typeface="Calibri" pitchFamily="34" charset="0"/>
              </a:rPr>
              <a:t>U 000 tona</a:t>
            </a:r>
            <a:endParaRPr lang="hr-HR" sz="900" b="1" dirty="0">
              <a:solidFill>
                <a:srgbClr val="00336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Pravokutnik 1"/>
          <p:cNvSpPr>
            <a:spLocks noChangeArrowheads="1"/>
          </p:cNvSpPr>
          <p:nvPr/>
        </p:nvSpPr>
        <p:spPr bwMode="auto">
          <a:xfrm>
            <a:off x="193558" y="6137153"/>
            <a:ext cx="8541371" cy="259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/>
          <a:p>
            <a:pPr eaLnBrk="0" hangingPunct="0"/>
            <a:r>
              <a:rPr lang="hr-HR" sz="1100" b="1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*</a:t>
            </a:r>
            <a:r>
              <a:rPr lang="hr-HR" sz="1100" b="1" i="1" dirty="0">
                <a:solidFill>
                  <a:srgbClr val="003366"/>
                </a:solidFill>
                <a:latin typeface="+mj-lt"/>
                <a:cs typeface="Tahoma" pitchFamily="34" charset="0"/>
              </a:rPr>
              <a:t>Izvor: </a:t>
            </a:r>
            <a:r>
              <a:rPr lang="hr-HR" sz="1100" b="1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 </a:t>
            </a:r>
            <a:r>
              <a:rPr lang="hr-HR" sz="1100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podaci </a:t>
            </a:r>
            <a:r>
              <a:rPr lang="hr-HR" sz="1100" i="1" dirty="0">
                <a:solidFill>
                  <a:srgbClr val="003366"/>
                </a:solidFill>
                <a:latin typeface="+mj-lt"/>
                <a:cs typeface="Tahoma" pitchFamily="34" charset="0"/>
              </a:rPr>
              <a:t>Državnog zavod za </a:t>
            </a:r>
            <a:r>
              <a:rPr lang="hr-HR" sz="1100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statistiku</a:t>
            </a:r>
            <a:endParaRPr lang="hr-HR" sz="1100" i="1" dirty="0">
              <a:solidFill>
                <a:srgbClr val="003366"/>
              </a:solidFill>
              <a:latin typeface="+mj-lt"/>
              <a:cs typeface="Tahoma" pitchFamily="34" charset="0"/>
            </a:endParaRPr>
          </a:p>
        </p:txBody>
      </p:sp>
      <p:sp>
        <p:nvSpPr>
          <p:cNvPr id="14" name="TekstniOkvir 10"/>
          <p:cNvSpPr txBox="1">
            <a:spLocks noChangeArrowheads="1"/>
          </p:cNvSpPr>
          <p:nvPr/>
        </p:nvSpPr>
        <p:spPr bwMode="auto">
          <a:xfrm>
            <a:off x="7125362" y="2487945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400" b="1" i="1" dirty="0" smtClean="0">
                <a:latin typeface="Calibri" pitchFamily="34" charset="0"/>
                <a:cs typeface="Calibri" pitchFamily="34" charset="0"/>
              </a:rPr>
              <a:t>CAGR %</a:t>
            </a:r>
            <a:endParaRPr lang="hr-HR" sz="1400" b="1" i="1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6" name="Objekt 1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16861965"/>
              </p:ext>
            </p:extLst>
          </p:nvPr>
        </p:nvGraphicFramePr>
        <p:xfrm>
          <a:off x="1828800" y="2590801"/>
          <a:ext cx="5667353" cy="31622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9" name="Grafikon" r:id="rId18" imgW="5667353" imgH="3162287" progId="MSGraph.Chart.8">
                  <p:embed followColorScheme="full"/>
                </p:oleObj>
              </mc:Choice>
              <mc:Fallback>
                <p:oleObj name="Grafikon" r:id="rId18" imgW="5667353" imgH="316228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828800" y="2590801"/>
                        <a:ext cx="5667353" cy="31622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zervirano mjesto teksta 26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302500" y="4533900"/>
            <a:ext cx="3302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fld id="{3FED36CB-A024-4400-8D22-C59432BBFAC0}" type="datetime'-''''''''''''''1'''''',''''''''''''4%'">
              <a:rPr lang="en-US" sz="1000" b="1"/>
              <a:pPr/>
              <a:t>-1,4%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Rezervirano mjesto teksta 9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502025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84065929-76ED-4895-96FD-1EFAD7927714}" type="datetime'''2''0''''''''''''''''''0''8'''''''''''''''''''''''''''''''''">
              <a:rPr lang="en-US" sz="1000" b="1"/>
              <a:pPr/>
              <a:t>2008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zervirano mjesto teksta 8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820988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9B1883BA-E274-4657-9D6F-AACAF827A0AB}" type="datetime'''''''''''''2''''''''0''''''''''''''0''''''''''''7'''''''''">
              <a:rPr lang="en-US" sz="1000" b="1"/>
              <a:pPr/>
              <a:t>2007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Rezervirano mjesto teksta 16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183063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D0ABAE3B-6C86-4E81-9B1C-DB9DC83D5767}" type="datetime'''''20''''''''''''''''''09'''''''''''''''''''''''''">
              <a:rPr lang="en-US" sz="1000" b="1"/>
              <a:pPr/>
              <a:t>2009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zervirano mjesto teksta 23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545138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943FECC6-531B-49F8-A3B5-561DB7D9D6A4}" type="datetime'2''''0''''''''''''1''''''1'''''''''''''''''''">
              <a:rPr lang="en-US" sz="1000" b="1"/>
              <a:pPr/>
              <a:t>2011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zervirano mjesto teksta 17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864100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E9066FC7-FDA3-4DB7-9724-F1F608B294C0}" type="datetime'2''''0''1''''''''''''''''0'''''''''''">
              <a:rPr lang="en-US" sz="1000" b="1"/>
              <a:pPr/>
              <a:t>2010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Rezervirano mjesto teksta 30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907213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6398847C-E4F6-4674-920F-7C0E9C09D334}" type="datetime'''''2''''''''''''''''01''''''3'''''''''''''">
              <a:rPr lang="en-US" sz="1000" b="1"/>
              <a:pPr/>
              <a:t>2013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Rezervirano mjesto teksta 28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226175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0E95DF22-A97E-45A4-88D2-30EC984E1F81}" type="datetime'2''''''''''0''''''''''''''''''''''''''1''''2'''''''''''''''">
              <a:rPr lang="en-US" sz="1000" b="1"/>
              <a:pPr/>
              <a:t>2012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zervirano mjesto teksta 7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139950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0BF79FAB-4AD7-47CB-B436-028B98443035}" type="datetime'''''''''2''0''''''''''''''''''0''''6'''''''''''''''''''''''">
              <a:rPr lang="en-US" sz="1000" b="1"/>
              <a:pPr/>
              <a:t>2006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4403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875723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Rectangle 3"/>
          <p:cNvSpPr>
            <a:spLocks noChangeArrowheads="1"/>
          </p:cNvSpPr>
          <p:nvPr/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hr-HR" sz="2000" b="1" dirty="0">
                <a:solidFill>
                  <a:srgbClr val="FF0000"/>
                </a:solidFill>
              </a:rPr>
              <a:t>Trendovi u </a:t>
            </a:r>
            <a:r>
              <a:rPr lang="hr-HR" sz="2000" b="1" dirty="0" smtClean="0">
                <a:solidFill>
                  <a:srgbClr val="FF0000"/>
                </a:solidFill>
              </a:rPr>
              <a:t>2014 </a:t>
            </a:r>
            <a:r>
              <a:rPr lang="hr-HR" sz="2000" b="1" dirty="0">
                <a:solidFill>
                  <a:srgbClr val="FF0000"/>
                </a:solidFill>
              </a:rPr>
              <a:t>i </a:t>
            </a:r>
            <a:r>
              <a:rPr lang="hr-HR" sz="2000" b="1" dirty="0" smtClean="0">
                <a:solidFill>
                  <a:srgbClr val="FF0000"/>
                </a:solidFill>
              </a:rPr>
              <a:t>dalje…</a:t>
            </a:r>
            <a:endParaRPr lang="hr-HR" sz="1900" b="1" dirty="0">
              <a:solidFill>
                <a:srgbClr val="FF0000"/>
              </a:solidFill>
            </a:endParaRPr>
          </a:p>
        </p:txBody>
      </p:sp>
      <p:sp>
        <p:nvSpPr>
          <p:cNvPr id="9" name="Rezervirano mjesto broja slajda 3"/>
          <p:cNvSpPr txBox="1">
            <a:spLocks noGrp="1"/>
          </p:cNvSpPr>
          <p:nvPr/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1</a:t>
            </a:fld>
            <a:endParaRPr lang="hr-HR" sz="12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/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5"/>
          <p:cNvSpPr txBox="1">
            <a:spLocks/>
          </p:cNvSpPr>
          <p:nvPr/>
        </p:nvSpPr>
        <p:spPr>
          <a:xfrm>
            <a:off x="216636" y="1357495"/>
            <a:ext cx="8064500" cy="75546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hr-HR" b="1" dirty="0" smtClean="0">
                <a:solidFill>
                  <a:schemeClr val="accent2"/>
                </a:solidFill>
              </a:rPr>
              <a:t>GLAVNI IZAZOVI I OČEKIVANJA U BUDUĆNOSTI</a:t>
            </a:r>
            <a:endParaRPr lang="hr-HR" b="1" dirty="0">
              <a:solidFill>
                <a:schemeClr val="accent2"/>
              </a:solidFill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 bwMode="auto">
          <a:xfrm>
            <a:off x="-20637" y="2166938"/>
            <a:ext cx="8964612" cy="37856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hr-HR" b="0" dirty="0" smtClean="0"/>
              <a:t>	Najčešća </a:t>
            </a:r>
            <a:r>
              <a:rPr lang="hr-HR" b="0" dirty="0"/>
              <a:t>problematika u poslovanju sa kojom se susreću proizvođači ambalaže:</a:t>
            </a:r>
          </a:p>
          <a:p>
            <a:r>
              <a:rPr lang="hr-HR" b="0" dirty="0"/>
              <a:t>		</a:t>
            </a:r>
            <a:endParaRPr lang="hr-HR" b="0" dirty="0" smtClean="0"/>
          </a:p>
          <a:p>
            <a:r>
              <a:rPr lang="hr-HR" b="0" dirty="0"/>
              <a:t>	</a:t>
            </a:r>
            <a:r>
              <a:rPr lang="hr-HR" b="0" dirty="0" smtClean="0"/>
              <a:t>	- </a:t>
            </a:r>
            <a:r>
              <a:rPr lang="hr-HR" b="0" dirty="0"/>
              <a:t>niska likvidnost, </a:t>
            </a:r>
            <a:r>
              <a:rPr lang="hr-HR" b="0" dirty="0" smtClean="0"/>
              <a:t>zaduženost</a:t>
            </a:r>
            <a:endParaRPr lang="hr-HR" b="0" dirty="0"/>
          </a:p>
          <a:p>
            <a:r>
              <a:rPr lang="hr-HR" b="0" dirty="0"/>
              <a:t>		- manje, usitnjene narudžbe </a:t>
            </a:r>
          </a:p>
          <a:p>
            <a:r>
              <a:rPr lang="hr-HR" b="0" dirty="0"/>
              <a:t>		- rast cijena </a:t>
            </a:r>
            <a:r>
              <a:rPr lang="hr-HR" b="0" dirty="0" smtClean="0"/>
              <a:t>sirovina</a:t>
            </a:r>
            <a:endParaRPr lang="hr-HR" b="0" dirty="0"/>
          </a:p>
          <a:p>
            <a:r>
              <a:rPr lang="hr-HR" b="0" dirty="0"/>
              <a:t>		- manji </a:t>
            </a:r>
            <a:r>
              <a:rPr lang="hr-HR" b="0" dirty="0" smtClean="0"/>
              <a:t>prihodi</a:t>
            </a:r>
            <a:endParaRPr lang="hr-HR" b="0" dirty="0"/>
          </a:p>
          <a:p>
            <a:r>
              <a:rPr lang="hr-HR" b="0" dirty="0"/>
              <a:t> 		- porast općih troškova</a:t>
            </a:r>
          </a:p>
          <a:p>
            <a:r>
              <a:rPr lang="hr-HR" b="0" dirty="0" smtClean="0"/>
              <a:t> </a:t>
            </a:r>
            <a:r>
              <a:rPr lang="hr-HR" b="0" dirty="0"/>
              <a:t>	</a:t>
            </a:r>
            <a:endParaRPr lang="hr-HR" b="0" dirty="0" smtClean="0"/>
          </a:p>
          <a:p>
            <a:endParaRPr lang="hr-HR" b="0" dirty="0" smtClean="0"/>
          </a:p>
          <a:p>
            <a:pPr eaLnBrk="1" hangingPunct="1"/>
            <a:r>
              <a:rPr lang="hr-HR" b="0" dirty="0" smtClean="0"/>
              <a:t>	</a:t>
            </a:r>
            <a:r>
              <a:rPr lang="hr-HR" b="0" dirty="0"/>
              <a:t>Najčešće mjere koje se koriste:</a:t>
            </a:r>
          </a:p>
          <a:p>
            <a:pPr eaLnBrk="1" hangingPunct="1"/>
            <a:endParaRPr lang="hr-HR" dirty="0">
              <a:solidFill>
                <a:srgbClr val="003366"/>
              </a:solidFill>
              <a:latin typeface="Tahoma" pitchFamily="34" charset="0"/>
              <a:cs typeface="Tahoma" pitchFamily="34" charset="0"/>
            </a:endParaRPr>
          </a:p>
          <a:p>
            <a:pPr eaLnBrk="1" hangingPunct="1"/>
            <a:r>
              <a:rPr lang="hr-HR" dirty="0" smtClean="0">
                <a:solidFill>
                  <a:srgbClr val="003366"/>
                </a:solidFill>
                <a:latin typeface="Tahoma" pitchFamily="34" charset="0"/>
                <a:cs typeface="Tahoma" pitchFamily="34" charset="0"/>
              </a:rPr>
              <a:t>		</a:t>
            </a:r>
            <a:r>
              <a:rPr lang="hr-HR" b="0" dirty="0"/>
              <a:t>- </a:t>
            </a:r>
            <a:r>
              <a:rPr lang="hr-HR" b="0" dirty="0" smtClean="0"/>
              <a:t>restrukturiranja </a:t>
            </a:r>
            <a:r>
              <a:rPr lang="hr-HR" b="0" dirty="0"/>
              <a:t>procesa i organizacije</a:t>
            </a:r>
          </a:p>
          <a:p>
            <a:pPr eaLnBrk="1" hangingPunct="1"/>
            <a:r>
              <a:rPr lang="hr-HR" dirty="0" smtClean="0">
                <a:solidFill>
                  <a:srgbClr val="003366"/>
                </a:solidFill>
                <a:latin typeface="Tahoma" pitchFamily="34" charset="0"/>
                <a:cs typeface="Tahoma" pitchFamily="34" charset="0"/>
              </a:rPr>
              <a:t>		</a:t>
            </a:r>
            <a:r>
              <a:rPr lang="hr-HR" b="0" dirty="0"/>
              <a:t>- optimizacije troškova </a:t>
            </a:r>
            <a:endParaRPr lang="hr-HR" b="0" dirty="0" smtClean="0"/>
          </a:p>
          <a:p>
            <a:r>
              <a:rPr lang="hr-HR" b="0" dirty="0" smtClean="0"/>
              <a:t>		- smanjivanje </a:t>
            </a:r>
            <a:r>
              <a:rPr lang="hr-HR" b="0" dirty="0"/>
              <a:t>(</a:t>
            </a:r>
            <a:r>
              <a:rPr lang="hr-HR" b="0" dirty="0" err="1"/>
              <a:t>optimaliziranje</a:t>
            </a:r>
            <a:r>
              <a:rPr lang="hr-HR" b="0" dirty="0"/>
              <a:t>) broja zaposlenih</a:t>
            </a:r>
          </a:p>
          <a:p>
            <a:pPr eaLnBrk="1" hangingPunct="1"/>
            <a:endParaRPr lang="hr-HR" b="0" dirty="0"/>
          </a:p>
        </p:txBody>
      </p:sp>
    </p:spTree>
    <p:extLst>
      <p:ext uri="{BB962C8B-B14F-4D97-AF65-F5344CB8AC3E}">
        <p14:creationId xmlns:p14="http://schemas.microsoft.com/office/powerpoint/2010/main" val="1577942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>
            <a:spLocks noChangeArrowheads="1"/>
          </p:cNvSpPr>
          <p:nvPr/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hr-HR" sz="1900" b="1" dirty="0">
                <a:solidFill>
                  <a:schemeClr val="accent2"/>
                </a:solidFill>
              </a:rPr>
              <a:t>SADRŽAJ:</a:t>
            </a:r>
          </a:p>
        </p:txBody>
      </p:sp>
      <p:sp>
        <p:nvSpPr>
          <p:cNvPr id="4101" name="TekstniOkvir 10"/>
          <p:cNvSpPr txBox="1">
            <a:spLocks noChangeArrowheads="1"/>
          </p:cNvSpPr>
          <p:nvPr/>
        </p:nvSpPr>
        <p:spPr bwMode="auto">
          <a:xfrm>
            <a:off x="1233755" y="1454765"/>
            <a:ext cx="3810166" cy="305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r>
              <a:rPr lang="hr-HR" sz="1400" dirty="0">
                <a:solidFill>
                  <a:schemeClr val="bg1"/>
                </a:solidFill>
                <a:latin typeface="Arial" charset="0"/>
              </a:rPr>
              <a:t>bruto domaći proizvod, indeksirano na 2006.</a:t>
            </a:r>
          </a:p>
        </p:txBody>
      </p:sp>
      <p:sp>
        <p:nvSpPr>
          <p:cNvPr id="9" name="Rezervirano mjesto broja slajda 3"/>
          <p:cNvSpPr txBox="1">
            <a:spLocks noGrp="1"/>
          </p:cNvSpPr>
          <p:nvPr/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</a:t>
            </a:fld>
            <a:endParaRPr lang="hr-HR" sz="12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/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323850" y="1692890"/>
            <a:ext cx="8496300" cy="1794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8001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2573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7145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1717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6289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861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5433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40005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hr-HR" sz="1400" b="1" dirty="0">
                <a:solidFill>
                  <a:schemeClr val="accent2"/>
                </a:solidFill>
              </a:rPr>
              <a:t>Makroekonomsko okruženje u RH		</a:t>
            </a:r>
            <a:r>
              <a:rPr lang="hr-HR" sz="1400" b="1" dirty="0" smtClean="0">
                <a:solidFill>
                  <a:schemeClr val="accent2"/>
                </a:solidFill>
              </a:rPr>
              <a:t>2</a:t>
            </a:r>
            <a:r>
              <a:rPr lang="hr-HR" sz="1400" b="1" dirty="0">
                <a:solidFill>
                  <a:schemeClr val="accent2"/>
                </a:solidFill>
              </a:rPr>
              <a:t>		</a:t>
            </a:r>
          </a:p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hr-HR" sz="1400" dirty="0" smtClean="0">
                <a:solidFill>
                  <a:schemeClr val="accent2"/>
                </a:solidFill>
              </a:rPr>
              <a:t>Proizvodnja ambalaže u RH – statistički podaci</a:t>
            </a:r>
            <a:r>
              <a:rPr lang="hr-HR" sz="1400" dirty="0">
                <a:solidFill>
                  <a:schemeClr val="accent2"/>
                </a:solidFill>
              </a:rPr>
              <a:t>	</a:t>
            </a:r>
            <a:r>
              <a:rPr lang="hr-HR" sz="1400" dirty="0" smtClean="0">
                <a:solidFill>
                  <a:schemeClr val="accent2"/>
                </a:solidFill>
              </a:rPr>
              <a:t>5</a:t>
            </a:r>
            <a:endParaRPr lang="hr-HR" sz="1400" dirty="0">
              <a:solidFill>
                <a:schemeClr val="accent2"/>
              </a:solidFill>
            </a:endParaRPr>
          </a:p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hr-HR" sz="1400" dirty="0" smtClean="0">
                <a:solidFill>
                  <a:schemeClr val="accent2"/>
                </a:solidFill>
              </a:rPr>
              <a:t>Trendovi </a:t>
            </a:r>
            <a:r>
              <a:rPr lang="hr-HR" sz="1400" dirty="0">
                <a:solidFill>
                  <a:schemeClr val="accent2"/>
                </a:solidFill>
              </a:rPr>
              <a:t>u </a:t>
            </a:r>
            <a:r>
              <a:rPr lang="hr-HR" sz="1400" dirty="0" smtClean="0">
                <a:solidFill>
                  <a:schemeClr val="accent2"/>
                </a:solidFill>
              </a:rPr>
              <a:t>2014 </a:t>
            </a:r>
            <a:r>
              <a:rPr lang="hr-HR" sz="1400" dirty="0">
                <a:solidFill>
                  <a:schemeClr val="accent2"/>
                </a:solidFill>
              </a:rPr>
              <a:t>i </a:t>
            </a:r>
            <a:r>
              <a:rPr lang="hr-HR" sz="1400" dirty="0" smtClean="0">
                <a:solidFill>
                  <a:schemeClr val="accent2"/>
                </a:solidFill>
              </a:rPr>
              <a:t>dalje….			11</a:t>
            </a:r>
            <a:endParaRPr lang="hr-HR" sz="1400" dirty="0">
              <a:solidFill>
                <a:schemeClr val="accent2"/>
              </a:solidFill>
            </a:endParaRPr>
          </a:p>
          <a:p>
            <a:pPr>
              <a:lnSpc>
                <a:spcPct val="120000"/>
              </a:lnSpc>
              <a:spcBef>
                <a:spcPct val="50000"/>
              </a:spcBef>
            </a:pPr>
            <a:endParaRPr lang="hr-HR" sz="1400" dirty="0">
              <a:solidFill>
                <a:schemeClr val="accent2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hr-HR" sz="1400" dirty="0"/>
              <a:t> </a:t>
            </a:r>
          </a:p>
        </p:txBody>
      </p:sp>
      <p:sp>
        <p:nvSpPr>
          <p:cNvPr id="10" name="Pravokutnik 1"/>
          <p:cNvSpPr>
            <a:spLocks noChangeArrowheads="1"/>
          </p:cNvSpPr>
          <p:nvPr/>
        </p:nvSpPr>
        <p:spPr bwMode="auto">
          <a:xfrm>
            <a:off x="193559" y="5576832"/>
            <a:ext cx="8541371" cy="5983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/>
          <a:p>
            <a:pPr eaLnBrk="0" hangingPunct="0"/>
            <a:r>
              <a:rPr lang="pl-PL" sz="1100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*</a:t>
            </a:r>
            <a:r>
              <a:rPr lang="pl-PL" sz="1100" i="1" dirty="0">
                <a:solidFill>
                  <a:srgbClr val="003366"/>
                </a:solidFill>
                <a:latin typeface="+mj-lt"/>
                <a:cs typeface="Tahoma" pitchFamily="34" charset="0"/>
              </a:rPr>
              <a:t>Podaci su izraženi u </a:t>
            </a:r>
            <a:r>
              <a:rPr lang="hr-HR" sz="1100" i="1" dirty="0">
                <a:solidFill>
                  <a:srgbClr val="003366"/>
                </a:solidFill>
                <a:latin typeface="+mj-lt"/>
                <a:cs typeface="Tahoma" pitchFamily="34" charset="0"/>
              </a:rPr>
              <a:t>mil. US $ i (000) tona</a:t>
            </a:r>
          </a:p>
          <a:p>
            <a:pPr eaLnBrk="0" hangingPunct="0"/>
            <a:r>
              <a:rPr lang="hr-HR" sz="1100" i="1" dirty="0">
                <a:solidFill>
                  <a:srgbClr val="003366"/>
                </a:solidFill>
                <a:latin typeface="+mj-lt"/>
                <a:cs typeface="Tahoma" pitchFamily="34" charset="0"/>
              </a:rPr>
              <a:t>*Prikaz razdoblja 2005. – </a:t>
            </a:r>
            <a:r>
              <a:rPr lang="hr-HR" sz="1100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2013. </a:t>
            </a:r>
            <a:r>
              <a:rPr lang="hr-HR" sz="1100" i="1" dirty="0">
                <a:solidFill>
                  <a:srgbClr val="003366"/>
                </a:solidFill>
                <a:latin typeface="+mj-lt"/>
                <a:cs typeface="Tahoma" pitchFamily="34" charset="0"/>
              </a:rPr>
              <a:t>godine</a:t>
            </a:r>
          </a:p>
          <a:p>
            <a:pPr eaLnBrk="0" hangingPunct="0"/>
            <a:r>
              <a:rPr lang="hr-HR" sz="1100" i="1" dirty="0">
                <a:solidFill>
                  <a:srgbClr val="003366"/>
                </a:solidFill>
                <a:latin typeface="+mj-lt"/>
                <a:cs typeface="Tahoma" pitchFamily="34" charset="0"/>
              </a:rPr>
              <a:t>*Izvor: podaci Državnog zavod za statistiku (proizvodnja</a:t>
            </a:r>
            <a:r>
              <a:rPr lang="hr-HR" sz="1100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)</a:t>
            </a:r>
            <a:endParaRPr lang="hr-HR" sz="1100" i="1" dirty="0">
              <a:solidFill>
                <a:srgbClr val="003366"/>
              </a:solidFill>
              <a:latin typeface="+mj-lt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7528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73289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88605144"/>
              </p:ext>
            </p:extLst>
          </p:nvPr>
        </p:nvGraphicFramePr>
        <p:xfrm>
          <a:off x="2401888" y="2525713"/>
          <a:ext cx="5646737" cy="4195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79" name="Grafikon" r:id="rId7" imgW="4181568" imgH="3105253" progId="MSGraph.Chart.8">
                  <p:embed/>
                </p:oleObj>
              </mc:Choice>
              <mc:Fallback>
                <p:oleObj name="Grafikon" r:id="rId7" imgW="4181568" imgH="3105253" progId="MSGraph.Chart.8">
                  <p:embed/>
                  <p:pic>
                    <p:nvPicPr>
                      <p:cNvPr id="0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01888" y="2525713"/>
                        <a:ext cx="5646737" cy="4195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Rectangle 3"/>
          <p:cNvSpPr>
            <a:spLocks noChangeArrowheads="1"/>
          </p:cNvSpPr>
          <p:nvPr/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hr-HR" sz="2000" b="1" dirty="0">
                <a:solidFill>
                  <a:schemeClr val="accent2"/>
                </a:solidFill>
              </a:rPr>
              <a:t>Makroekonomsko okruženje u RH</a:t>
            </a:r>
          </a:p>
        </p:txBody>
      </p:sp>
      <p:sp>
        <p:nvSpPr>
          <p:cNvPr id="9" name="Rezervirano mjesto broja slajda 3"/>
          <p:cNvSpPr txBox="1">
            <a:spLocks noGrp="1"/>
          </p:cNvSpPr>
          <p:nvPr/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hr-HR" sz="12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/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5"/>
          <p:cNvSpPr txBox="1">
            <a:spLocks/>
          </p:cNvSpPr>
          <p:nvPr/>
        </p:nvSpPr>
        <p:spPr>
          <a:xfrm>
            <a:off x="216636" y="1282883"/>
            <a:ext cx="8064500" cy="7554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hr-HR" dirty="0" smtClean="0"/>
              <a:t>HRVATSKO GOSPODARSTVO STAGNIRA, A NEIZVJESTAN JE OPORAVAK. </a:t>
            </a:r>
          </a:p>
          <a:p>
            <a:r>
              <a:rPr lang="hr-HR" dirty="0" smtClean="0"/>
              <a:t>IZVJESNO JE PRODU(B)LJENJE KRIZE</a:t>
            </a:r>
            <a:endParaRPr lang="hr-HR" dirty="0"/>
          </a:p>
        </p:txBody>
      </p:sp>
      <p:sp>
        <p:nvSpPr>
          <p:cNvPr id="12" name="TekstniOkvir 10"/>
          <p:cNvSpPr txBox="1">
            <a:spLocks noChangeArrowheads="1"/>
          </p:cNvSpPr>
          <p:nvPr/>
        </p:nvSpPr>
        <p:spPr bwMode="auto">
          <a:xfrm>
            <a:off x="2328599" y="2178051"/>
            <a:ext cx="4275137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400" b="1" dirty="0" smtClean="0">
                <a:latin typeface="Calibri" pitchFamily="34" charset="0"/>
                <a:cs typeface="Calibri" pitchFamily="34" charset="0"/>
              </a:rPr>
              <a:t>Stope rasta Bruto domaćeg proizvoda, </a:t>
            </a:r>
            <a:r>
              <a:rPr lang="hr-HR" sz="1400" b="1" i="1" dirty="0" smtClean="0">
                <a:latin typeface="Calibri" pitchFamily="34" charset="0"/>
                <a:cs typeface="Calibri" pitchFamily="34" charset="0"/>
              </a:rPr>
              <a:t>%</a:t>
            </a:r>
            <a:endParaRPr lang="hr-HR" sz="1400" b="1" i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203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Rectangle 3"/>
          <p:cNvSpPr>
            <a:spLocks noChangeArrowheads="1"/>
          </p:cNvSpPr>
          <p:nvPr/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hr-HR" sz="2000" b="1" dirty="0">
                <a:solidFill>
                  <a:schemeClr val="accent2"/>
                </a:solidFill>
              </a:rPr>
              <a:t>Makroekonomsko okruženje u RH</a:t>
            </a:r>
          </a:p>
        </p:txBody>
      </p:sp>
      <p:sp>
        <p:nvSpPr>
          <p:cNvPr id="9" name="Rezervirano mjesto broja slajda 3"/>
          <p:cNvSpPr txBox="1">
            <a:spLocks noGrp="1"/>
          </p:cNvSpPr>
          <p:nvPr/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3</a:t>
            </a:fld>
            <a:endParaRPr lang="hr-HR" sz="12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/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5"/>
          <p:cNvSpPr txBox="1">
            <a:spLocks/>
          </p:cNvSpPr>
          <p:nvPr/>
        </p:nvSpPr>
        <p:spPr>
          <a:xfrm>
            <a:off x="483336" y="1314662"/>
            <a:ext cx="8064500" cy="7554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hr-HR" dirty="0" smtClean="0"/>
              <a:t/>
            </a:r>
            <a:br>
              <a:rPr lang="hr-HR" dirty="0" smtClean="0"/>
            </a:br>
            <a:r>
              <a:rPr lang="hr-HR" dirty="0" smtClean="0"/>
              <a:t>PROCJENE REALNIH GODIŠNJIH STOPA RASTA BDP-A (%) U ZEMLJAMA ČLANICAMA EU ZA 2014. GODINU</a:t>
            </a:r>
            <a:br>
              <a:rPr lang="hr-HR" dirty="0" smtClean="0"/>
            </a:br>
            <a:r>
              <a:rPr lang="hr-HR" dirty="0" smtClean="0"/>
              <a:t/>
            </a:r>
            <a:br>
              <a:rPr lang="hr-HR" dirty="0" smtClean="0"/>
            </a:br>
            <a:endParaRPr lang="hr-HR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83336" y="3085417"/>
            <a:ext cx="7596187" cy="337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kstniOkvir 10"/>
          <p:cNvSpPr txBox="1">
            <a:spLocks noChangeArrowheads="1"/>
          </p:cNvSpPr>
          <p:nvPr/>
        </p:nvSpPr>
        <p:spPr bwMode="auto">
          <a:xfrm>
            <a:off x="2328599" y="2739754"/>
            <a:ext cx="4275137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400" b="1" dirty="0" smtClean="0">
                <a:latin typeface="Calibri" pitchFamily="34" charset="0"/>
                <a:cs typeface="Calibri" pitchFamily="34" charset="0"/>
              </a:rPr>
              <a:t>Stope rasta Bruto domaćeg proizvoda, </a:t>
            </a:r>
            <a:r>
              <a:rPr lang="hr-HR" sz="1400" b="1" i="1" dirty="0" smtClean="0">
                <a:latin typeface="Calibri" pitchFamily="34" charset="0"/>
                <a:cs typeface="Calibri" pitchFamily="34" charset="0"/>
              </a:rPr>
              <a:t>%</a:t>
            </a:r>
            <a:endParaRPr lang="hr-HR" sz="1400" b="1" i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8525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321984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46849850"/>
              </p:ext>
            </p:extLst>
          </p:nvPr>
        </p:nvGraphicFramePr>
        <p:xfrm>
          <a:off x="1893624" y="2343705"/>
          <a:ext cx="5545138" cy="43269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098" name="Rectangle 3"/>
          <p:cNvSpPr>
            <a:spLocks noChangeArrowheads="1"/>
          </p:cNvSpPr>
          <p:nvPr/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hr-HR" sz="2000" b="1" dirty="0">
                <a:solidFill>
                  <a:schemeClr val="accent2"/>
                </a:solidFill>
              </a:rPr>
              <a:t>Makroekonomsko okruženje u RH</a:t>
            </a:r>
          </a:p>
        </p:txBody>
      </p:sp>
      <p:sp>
        <p:nvSpPr>
          <p:cNvPr id="9" name="Rezervirano mjesto broja slajda 3"/>
          <p:cNvSpPr txBox="1">
            <a:spLocks noGrp="1"/>
          </p:cNvSpPr>
          <p:nvPr/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4</a:t>
            </a:fld>
            <a:endParaRPr lang="hr-HR" sz="12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/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5"/>
          <p:cNvSpPr txBox="1">
            <a:spLocks/>
          </p:cNvSpPr>
          <p:nvPr/>
        </p:nvSpPr>
        <p:spPr>
          <a:xfrm>
            <a:off x="216636" y="1357495"/>
            <a:ext cx="8064500" cy="7554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hr-HR" dirty="0" smtClean="0"/>
              <a:t>NEZAPOSLENOST U HRVATSKOJ JE NAJVEĆA OD 2003. GODINE</a:t>
            </a:r>
            <a:endParaRPr lang="hr-HR" dirty="0"/>
          </a:p>
        </p:txBody>
      </p:sp>
      <p:sp>
        <p:nvSpPr>
          <p:cNvPr id="12" name="TekstniOkvir 10"/>
          <p:cNvSpPr txBox="1">
            <a:spLocks noChangeArrowheads="1"/>
          </p:cNvSpPr>
          <p:nvPr/>
        </p:nvSpPr>
        <p:spPr bwMode="auto">
          <a:xfrm>
            <a:off x="2319074" y="2178051"/>
            <a:ext cx="4275137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400" b="1" dirty="0" smtClean="0">
                <a:latin typeface="Calibri" pitchFamily="34" charset="0"/>
                <a:cs typeface="Calibri" pitchFamily="34" charset="0"/>
              </a:rPr>
              <a:t>Stopa nezaposlenosti u Republici Hrvatskoj</a:t>
            </a:r>
            <a:r>
              <a:rPr lang="hr-HR" sz="1400" b="1" dirty="0">
                <a:latin typeface="Calibri" pitchFamily="34" charset="0"/>
                <a:cs typeface="Calibri" pitchFamily="34" charset="0"/>
              </a:rPr>
              <a:t>, </a:t>
            </a:r>
            <a:r>
              <a:rPr lang="hr-HR" sz="1400" b="1" i="1" dirty="0" smtClean="0">
                <a:latin typeface="Calibri" pitchFamily="34" charset="0"/>
                <a:cs typeface="Calibri" pitchFamily="34" charset="0"/>
              </a:rPr>
              <a:t>%</a:t>
            </a:r>
            <a:endParaRPr lang="hr-HR" sz="1400" b="1" i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5970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>
            <a:spLocks noChangeArrowheads="1"/>
          </p:cNvSpPr>
          <p:nvPr/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hr-HR" sz="1900" b="1" dirty="0">
                <a:solidFill>
                  <a:schemeClr val="accent2"/>
                </a:solidFill>
              </a:rPr>
              <a:t>SADRŽAJ:</a:t>
            </a:r>
          </a:p>
        </p:txBody>
      </p:sp>
      <p:sp>
        <p:nvSpPr>
          <p:cNvPr id="4101" name="TekstniOkvir 10"/>
          <p:cNvSpPr txBox="1">
            <a:spLocks noChangeArrowheads="1"/>
          </p:cNvSpPr>
          <p:nvPr/>
        </p:nvSpPr>
        <p:spPr bwMode="auto">
          <a:xfrm>
            <a:off x="1233755" y="1454765"/>
            <a:ext cx="3810166" cy="305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r>
              <a:rPr lang="hr-HR" sz="1400" dirty="0">
                <a:solidFill>
                  <a:schemeClr val="bg1"/>
                </a:solidFill>
                <a:latin typeface="Arial" charset="0"/>
              </a:rPr>
              <a:t>bruto domaći proizvod, indeksirano na 2006.</a:t>
            </a:r>
          </a:p>
        </p:txBody>
      </p:sp>
      <p:sp>
        <p:nvSpPr>
          <p:cNvPr id="9" name="Rezervirano mjesto broja slajda 3"/>
          <p:cNvSpPr txBox="1">
            <a:spLocks noGrp="1"/>
          </p:cNvSpPr>
          <p:nvPr/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5</a:t>
            </a:fld>
            <a:endParaRPr lang="hr-HR" sz="12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/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323850" y="1692890"/>
            <a:ext cx="8496300" cy="1794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8001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2573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7145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1717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6289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861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5433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40005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hr-HR" sz="1400" dirty="0" smtClean="0">
                <a:solidFill>
                  <a:schemeClr val="accent2"/>
                </a:solidFill>
              </a:rPr>
              <a:t>Makroekonomsko okruženje u RH</a:t>
            </a:r>
            <a:r>
              <a:rPr lang="hr-HR" sz="1400" dirty="0">
                <a:solidFill>
                  <a:schemeClr val="accent2"/>
                </a:solidFill>
              </a:rPr>
              <a:t>	</a:t>
            </a:r>
            <a:r>
              <a:rPr lang="hr-HR" sz="1400" dirty="0" smtClean="0">
                <a:solidFill>
                  <a:schemeClr val="accent2"/>
                </a:solidFill>
              </a:rPr>
              <a:t>		2</a:t>
            </a:r>
            <a:r>
              <a:rPr lang="hr-HR" sz="1400" b="1" dirty="0">
                <a:solidFill>
                  <a:schemeClr val="accent2"/>
                </a:solidFill>
              </a:rPr>
              <a:t>		</a:t>
            </a:r>
          </a:p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hr-HR" sz="1400" b="1" dirty="0" smtClean="0">
                <a:solidFill>
                  <a:schemeClr val="accent2"/>
                </a:solidFill>
              </a:rPr>
              <a:t>Proizvodnja ambalaže u RH – statistički podaci</a:t>
            </a:r>
            <a:r>
              <a:rPr lang="hr-HR" sz="1400" b="1" dirty="0">
                <a:solidFill>
                  <a:schemeClr val="accent2"/>
                </a:solidFill>
              </a:rPr>
              <a:t>	</a:t>
            </a:r>
            <a:r>
              <a:rPr lang="hr-HR" sz="1400" b="1" dirty="0" smtClean="0">
                <a:solidFill>
                  <a:schemeClr val="accent2"/>
                </a:solidFill>
              </a:rPr>
              <a:t>5</a:t>
            </a:r>
            <a:endParaRPr lang="hr-HR" sz="1400" b="1" dirty="0">
              <a:solidFill>
                <a:schemeClr val="accent2"/>
              </a:solidFill>
            </a:endParaRPr>
          </a:p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hr-HR" sz="1400" dirty="0" smtClean="0">
                <a:solidFill>
                  <a:schemeClr val="accent2"/>
                </a:solidFill>
              </a:rPr>
              <a:t>Trendovi </a:t>
            </a:r>
            <a:r>
              <a:rPr lang="hr-HR" sz="1400" dirty="0">
                <a:solidFill>
                  <a:schemeClr val="accent2"/>
                </a:solidFill>
              </a:rPr>
              <a:t>u </a:t>
            </a:r>
            <a:r>
              <a:rPr lang="hr-HR" sz="1400" dirty="0" smtClean="0">
                <a:solidFill>
                  <a:schemeClr val="accent2"/>
                </a:solidFill>
              </a:rPr>
              <a:t>2013 </a:t>
            </a:r>
            <a:r>
              <a:rPr lang="hr-HR" sz="1400" dirty="0">
                <a:solidFill>
                  <a:schemeClr val="accent2"/>
                </a:solidFill>
              </a:rPr>
              <a:t>i </a:t>
            </a:r>
            <a:r>
              <a:rPr lang="hr-HR" sz="1400" dirty="0" smtClean="0">
                <a:solidFill>
                  <a:schemeClr val="accent2"/>
                </a:solidFill>
              </a:rPr>
              <a:t>dalje….			11</a:t>
            </a:r>
            <a:endParaRPr lang="hr-HR" sz="1400" dirty="0">
              <a:solidFill>
                <a:schemeClr val="accent2"/>
              </a:solidFill>
            </a:endParaRPr>
          </a:p>
          <a:p>
            <a:pPr>
              <a:lnSpc>
                <a:spcPct val="120000"/>
              </a:lnSpc>
              <a:spcBef>
                <a:spcPct val="50000"/>
              </a:spcBef>
            </a:pPr>
            <a:endParaRPr lang="hr-HR" sz="1400" dirty="0">
              <a:solidFill>
                <a:schemeClr val="accent2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hr-HR" sz="1400" dirty="0"/>
              <a:t> </a:t>
            </a:r>
          </a:p>
        </p:txBody>
      </p:sp>
      <p:sp>
        <p:nvSpPr>
          <p:cNvPr id="10" name="Pravokutnik 1"/>
          <p:cNvSpPr>
            <a:spLocks noChangeArrowheads="1"/>
          </p:cNvSpPr>
          <p:nvPr/>
        </p:nvSpPr>
        <p:spPr bwMode="auto">
          <a:xfrm>
            <a:off x="193559" y="5576832"/>
            <a:ext cx="8541371" cy="5983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/>
          <a:p>
            <a:pPr eaLnBrk="0" hangingPunct="0"/>
            <a:r>
              <a:rPr lang="pl-PL" sz="1100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*</a:t>
            </a:r>
            <a:r>
              <a:rPr lang="pl-PL" sz="1100" i="1" dirty="0">
                <a:solidFill>
                  <a:srgbClr val="003366"/>
                </a:solidFill>
                <a:latin typeface="+mj-lt"/>
                <a:cs typeface="Tahoma" pitchFamily="34" charset="0"/>
              </a:rPr>
              <a:t>Podaci su izraženi u </a:t>
            </a:r>
            <a:r>
              <a:rPr lang="hr-HR" sz="1100" i="1" dirty="0">
                <a:solidFill>
                  <a:srgbClr val="003366"/>
                </a:solidFill>
                <a:latin typeface="+mj-lt"/>
                <a:cs typeface="Tahoma" pitchFamily="34" charset="0"/>
              </a:rPr>
              <a:t>mil. US $ i (000) tona</a:t>
            </a:r>
          </a:p>
          <a:p>
            <a:pPr eaLnBrk="0" hangingPunct="0"/>
            <a:r>
              <a:rPr lang="hr-HR" sz="1100" i="1" dirty="0">
                <a:solidFill>
                  <a:srgbClr val="003366"/>
                </a:solidFill>
                <a:latin typeface="+mj-lt"/>
                <a:cs typeface="Tahoma" pitchFamily="34" charset="0"/>
              </a:rPr>
              <a:t>*Prikaz razdoblja 2005. – </a:t>
            </a:r>
            <a:r>
              <a:rPr lang="hr-HR" sz="1100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2012. </a:t>
            </a:r>
            <a:r>
              <a:rPr lang="hr-HR" sz="1100" i="1" dirty="0">
                <a:solidFill>
                  <a:srgbClr val="003366"/>
                </a:solidFill>
                <a:latin typeface="+mj-lt"/>
                <a:cs typeface="Tahoma" pitchFamily="34" charset="0"/>
              </a:rPr>
              <a:t>godine</a:t>
            </a:r>
          </a:p>
          <a:p>
            <a:pPr eaLnBrk="0" hangingPunct="0"/>
            <a:r>
              <a:rPr lang="hr-HR" sz="1100" i="1" dirty="0">
                <a:solidFill>
                  <a:srgbClr val="003366"/>
                </a:solidFill>
                <a:latin typeface="+mj-lt"/>
                <a:cs typeface="Tahoma" pitchFamily="34" charset="0"/>
              </a:rPr>
              <a:t>*Izvor: podaci Državnog zavod za statistiku (proizvodnja</a:t>
            </a:r>
            <a:r>
              <a:rPr lang="hr-HR" sz="1100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)</a:t>
            </a:r>
            <a:endParaRPr lang="hr-HR" sz="1100" i="1" dirty="0">
              <a:solidFill>
                <a:srgbClr val="003366"/>
              </a:solidFill>
              <a:latin typeface="+mj-lt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4008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88575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8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ravokutnik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441275" cy="246221"/>
          </a:xfrm>
          <a:prstGeom prst="rect">
            <a:avLst/>
          </a:prstGeom>
          <a:solidFill>
            <a:scrgbClr r="0" g="0" b="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95350">
              <a:buSzPct val="120000"/>
            </a:pPr>
            <a:endParaRPr kumimoji="0" lang="hr-HR" sz="1000" b="1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98" name="Rectangle 3"/>
          <p:cNvSpPr>
            <a:spLocks noChangeArrowheads="1"/>
          </p:cNvSpPr>
          <p:nvPr/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hr-HR" sz="2000" b="1" dirty="0">
                <a:solidFill>
                  <a:schemeClr val="accent2"/>
                </a:solidFill>
              </a:rPr>
              <a:t>Proizvodnja ambalaže u RH – statistički podaci</a:t>
            </a:r>
          </a:p>
        </p:txBody>
      </p:sp>
      <p:sp>
        <p:nvSpPr>
          <p:cNvPr id="9" name="Rezervirano mjesto broja slajda 3"/>
          <p:cNvSpPr txBox="1">
            <a:spLocks noGrp="1"/>
          </p:cNvSpPr>
          <p:nvPr/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6</a:t>
            </a:fld>
            <a:endParaRPr lang="hr-HR" sz="12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/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5"/>
          <p:cNvSpPr txBox="1">
            <a:spLocks/>
          </p:cNvSpPr>
          <p:nvPr/>
        </p:nvSpPr>
        <p:spPr>
          <a:xfrm>
            <a:off x="216636" y="1278029"/>
            <a:ext cx="8064500" cy="7554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hr-HR" dirty="0" smtClean="0"/>
              <a:t>AMBALAŽA OD DRVA  - PROIZVODNJA U REPUBLICI HRVATSKOJ </a:t>
            </a:r>
          </a:p>
        </p:txBody>
      </p:sp>
      <p:sp>
        <p:nvSpPr>
          <p:cNvPr id="12" name="TekstniOkvir 10"/>
          <p:cNvSpPr txBox="1">
            <a:spLocks noChangeArrowheads="1"/>
          </p:cNvSpPr>
          <p:nvPr/>
        </p:nvSpPr>
        <p:spPr bwMode="auto">
          <a:xfrm>
            <a:off x="2330391" y="2111376"/>
            <a:ext cx="4275137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400" b="1" dirty="0" smtClean="0">
                <a:latin typeface="Calibri" pitchFamily="34" charset="0"/>
                <a:cs typeface="Calibri" pitchFamily="34" charset="0"/>
              </a:rPr>
              <a:t>Proizvede količine u razdoblju 2007 – 2013, </a:t>
            </a:r>
            <a:r>
              <a:rPr lang="hr-HR" sz="1400" b="1" i="1" dirty="0" smtClean="0">
                <a:latin typeface="Calibri" pitchFamily="34" charset="0"/>
                <a:cs typeface="Calibri" pitchFamily="34" charset="0"/>
              </a:rPr>
              <a:t>(u 000 m3)</a:t>
            </a:r>
            <a:endParaRPr lang="hr-HR" sz="1400" b="1" i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Pravokutnik 1"/>
          <p:cNvSpPr>
            <a:spLocks noChangeArrowheads="1"/>
          </p:cNvSpPr>
          <p:nvPr/>
        </p:nvSpPr>
        <p:spPr bwMode="auto">
          <a:xfrm>
            <a:off x="1790525" y="2622495"/>
            <a:ext cx="816091" cy="228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11" tIns="44806" rIns="89611" bIns="44806">
            <a:spAutoFit/>
          </a:bodyPr>
          <a:lstStyle/>
          <a:p>
            <a:pPr eaLnBrk="0" hangingPunct="0"/>
            <a:r>
              <a:rPr lang="pl-PL" sz="900" b="1" dirty="0" smtClean="0">
                <a:solidFill>
                  <a:srgbClr val="003366"/>
                </a:solidFill>
                <a:latin typeface="Calibri" pitchFamily="34" charset="0"/>
                <a:cs typeface="Calibri" pitchFamily="34" charset="0"/>
              </a:rPr>
              <a:t>U 000 m3</a:t>
            </a:r>
            <a:endParaRPr lang="hr-HR" sz="900" b="1" dirty="0">
              <a:solidFill>
                <a:srgbClr val="00336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Pravokutnik 1"/>
          <p:cNvSpPr>
            <a:spLocks noChangeArrowheads="1"/>
          </p:cNvSpPr>
          <p:nvPr/>
        </p:nvSpPr>
        <p:spPr bwMode="auto">
          <a:xfrm>
            <a:off x="193558" y="6137153"/>
            <a:ext cx="8541371" cy="259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/>
          <a:p>
            <a:pPr eaLnBrk="0" hangingPunct="0"/>
            <a:r>
              <a:rPr lang="hr-HR" sz="1100" b="1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*</a:t>
            </a:r>
            <a:r>
              <a:rPr lang="hr-HR" sz="1100" b="1" i="1" dirty="0">
                <a:solidFill>
                  <a:srgbClr val="003366"/>
                </a:solidFill>
                <a:latin typeface="+mj-lt"/>
                <a:cs typeface="Tahoma" pitchFamily="34" charset="0"/>
              </a:rPr>
              <a:t>Izvor: </a:t>
            </a:r>
            <a:r>
              <a:rPr lang="hr-HR" sz="1100" b="1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 </a:t>
            </a:r>
            <a:r>
              <a:rPr lang="hr-HR" sz="1100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podaci </a:t>
            </a:r>
            <a:r>
              <a:rPr lang="hr-HR" sz="1100" i="1" dirty="0">
                <a:solidFill>
                  <a:srgbClr val="003366"/>
                </a:solidFill>
                <a:latin typeface="+mj-lt"/>
                <a:cs typeface="Tahoma" pitchFamily="34" charset="0"/>
              </a:rPr>
              <a:t>Državnog zavod za </a:t>
            </a:r>
            <a:r>
              <a:rPr lang="hr-HR" sz="1100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statistiku</a:t>
            </a:r>
            <a:endParaRPr lang="hr-HR" sz="1100" i="1" dirty="0">
              <a:solidFill>
                <a:srgbClr val="003366"/>
              </a:solidFill>
              <a:latin typeface="+mj-lt"/>
              <a:cs typeface="Tahoma" pitchFamily="34" charset="0"/>
            </a:endParaRPr>
          </a:p>
        </p:txBody>
      </p:sp>
      <p:sp>
        <p:nvSpPr>
          <p:cNvPr id="14" name="TekstniOkvir 10"/>
          <p:cNvSpPr txBox="1">
            <a:spLocks noChangeArrowheads="1"/>
          </p:cNvSpPr>
          <p:nvPr/>
        </p:nvSpPr>
        <p:spPr bwMode="auto">
          <a:xfrm>
            <a:off x="6690358" y="2487945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400" b="1" i="1" dirty="0" smtClean="0">
                <a:latin typeface="Calibri" pitchFamily="34" charset="0"/>
                <a:cs typeface="Calibri" pitchFamily="34" charset="0"/>
              </a:rPr>
              <a:t>CAGR %</a:t>
            </a:r>
            <a:endParaRPr lang="hr-HR" sz="1400" b="1" i="1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5" name="Objekt 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47735774"/>
              </p:ext>
            </p:extLst>
          </p:nvPr>
        </p:nvGraphicFramePr>
        <p:xfrm>
          <a:off x="1828800" y="2590801"/>
          <a:ext cx="5334090" cy="31622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9" name="Grafikon" r:id="rId17" imgW="5334090" imgH="3162287" progId="MSGraph.Chart.8">
                  <p:embed followColorScheme="full"/>
                </p:oleObj>
              </mc:Choice>
              <mc:Fallback>
                <p:oleObj name="Grafikon" r:id="rId17" imgW="5334090" imgH="316228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828800" y="2590801"/>
                        <a:ext cx="5334090" cy="31622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zervirano mjesto teksta 28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540500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0AAC218D-AF7E-40E4-85AD-1B60F6B4D069}" type="datetime'''''''''''''''''''2''''''''''0''''''''''''''''''13'''''''''''">
              <a:rPr lang="en-US" sz="1000" b="1"/>
              <a:pPr/>
              <a:t>2013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zervirano mjesto teksta 16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349750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9D7DFA17-F81A-41EB-895A-8FC3A71A7047}" type="datetime'''''2''''''''0''1''''''0'''''''''''''''''''''''''''''''''">
              <a:rPr lang="en-US" sz="10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010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zervirano mjesto teksta 17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083175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39E11433-BFFD-4C87-8EC9-4FA98D973850}" type="datetime'''''''''''''2''''''01''''''''''''''''1'''''''''''''''''''">
              <a:rPr lang="en-US" sz="10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011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Rezervirano mjesto teksta 7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159000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FCE5F4A1-4EA3-4C97-B209-B8B7AD842FF7}" type="datetime'''''''''''''2''''0''''''''''0''''7'">
              <a:rPr lang="en-US" sz="10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007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zervirano mjesto teksta 8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887663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4C7DB9F9-4AB6-481C-858C-FF353199E32B}" type="datetime'''''''''''''2''''''''0''''''''08'''''''''''''''''''''''''''''">
              <a:rPr lang="en-US" sz="10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008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" name="Rezervirano mjesto teksta 23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811838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7FE839C2-632D-4247-B23A-2786880AC80E}" type="datetime'''''''''''2''''0''''1''''''''''2'''''''">
              <a:rPr lang="en-US" sz="10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None/>
              </a:pPr>
              <a:t>2012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" name="Rezervirano mjesto teksta 26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950075" y="4410075"/>
            <a:ext cx="3302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fld id="{8910A812-E239-4503-BF3D-4A75EB63C5AE}" type="datetime'''''-''0'''''',8''''''''''''''''''''''''''''''''''%'''">
              <a:rPr lang="en-US" sz="1000" b="1"/>
              <a:pPr/>
              <a:t>-0,8%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Rezervirano mjesto teksta 9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616325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7EC6D999-BDEC-49AC-A026-2D5A8CA89D03}" type="datetime'''''2''''''''''''''''0''''''''''''''''0''''''''9'">
              <a:rPr lang="en-US" sz="10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009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0297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770942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58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ravokutnik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456535" cy="246221"/>
          </a:xfrm>
          <a:prstGeom prst="rect">
            <a:avLst/>
          </a:prstGeom>
          <a:solidFill>
            <a:scrgbClr r="0" g="0" b="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95350">
              <a:buSzPct val="120000"/>
            </a:pPr>
            <a:endParaRPr kumimoji="0" lang="hr-HR" sz="1000" b="1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98" name="Rectangle 3"/>
          <p:cNvSpPr>
            <a:spLocks noChangeArrowheads="1"/>
          </p:cNvSpPr>
          <p:nvPr/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hr-HR" sz="2000" b="1" dirty="0">
                <a:solidFill>
                  <a:schemeClr val="accent2"/>
                </a:solidFill>
              </a:rPr>
              <a:t>Proizvodnja ambalaže u RH – statistički podaci</a:t>
            </a:r>
          </a:p>
        </p:txBody>
      </p:sp>
      <p:sp>
        <p:nvSpPr>
          <p:cNvPr id="9" name="Rezervirano mjesto broja slajda 3"/>
          <p:cNvSpPr txBox="1">
            <a:spLocks noGrp="1"/>
          </p:cNvSpPr>
          <p:nvPr/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7</a:t>
            </a:fld>
            <a:endParaRPr lang="hr-HR" sz="12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/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5"/>
          <p:cNvSpPr txBox="1">
            <a:spLocks/>
          </p:cNvSpPr>
          <p:nvPr/>
        </p:nvSpPr>
        <p:spPr>
          <a:xfrm>
            <a:off x="216636" y="1282883"/>
            <a:ext cx="8064500" cy="7554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hr-HR" dirty="0" smtClean="0"/>
              <a:t>AMBALAŽA OD VALOVITOG KARTONA, VREĆA I VREĆICA - PROIZVODNJA U REPUBLICI HRVATSKOJ </a:t>
            </a:r>
          </a:p>
        </p:txBody>
      </p:sp>
      <p:sp>
        <p:nvSpPr>
          <p:cNvPr id="12" name="TekstniOkvir 10"/>
          <p:cNvSpPr txBox="1">
            <a:spLocks noChangeArrowheads="1"/>
          </p:cNvSpPr>
          <p:nvPr/>
        </p:nvSpPr>
        <p:spPr bwMode="auto">
          <a:xfrm>
            <a:off x="2330391" y="2111376"/>
            <a:ext cx="463238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400" b="1" dirty="0" smtClean="0">
                <a:latin typeface="Calibri" pitchFamily="34" charset="0"/>
                <a:cs typeface="Calibri" pitchFamily="34" charset="0"/>
              </a:rPr>
              <a:t>Proizvede količine u razdoblju 2006 – 2013 , </a:t>
            </a:r>
            <a:r>
              <a:rPr lang="hr-HR" sz="1400" b="1" i="1" dirty="0" smtClean="0">
                <a:latin typeface="Calibri" pitchFamily="34" charset="0"/>
                <a:cs typeface="Calibri" pitchFamily="34" charset="0"/>
              </a:rPr>
              <a:t>(u  000 tona)</a:t>
            </a:r>
            <a:endParaRPr lang="hr-HR" sz="1400" b="1" i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Pravokutnik 1"/>
          <p:cNvSpPr>
            <a:spLocks noChangeArrowheads="1"/>
          </p:cNvSpPr>
          <p:nvPr/>
        </p:nvSpPr>
        <p:spPr bwMode="auto">
          <a:xfrm>
            <a:off x="1790525" y="2622495"/>
            <a:ext cx="816091" cy="228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11" tIns="44806" rIns="89611" bIns="44806">
            <a:spAutoFit/>
          </a:bodyPr>
          <a:lstStyle/>
          <a:p>
            <a:pPr eaLnBrk="0" hangingPunct="0"/>
            <a:r>
              <a:rPr lang="pl-PL" sz="900" b="1" dirty="0" smtClean="0">
                <a:solidFill>
                  <a:srgbClr val="003366"/>
                </a:solidFill>
                <a:latin typeface="Calibri" pitchFamily="34" charset="0"/>
                <a:cs typeface="Calibri" pitchFamily="34" charset="0"/>
              </a:rPr>
              <a:t>U 000 tona</a:t>
            </a:r>
            <a:endParaRPr lang="hr-HR" sz="900" b="1" dirty="0">
              <a:solidFill>
                <a:srgbClr val="00336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Pravokutnik 1"/>
          <p:cNvSpPr>
            <a:spLocks noChangeArrowheads="1"/>
          </p:cNvSpPr>
          <p:nvPr/>
        </p:nvSpPr>
        <p:spPr bwMode="auto">
          <a:xfrm>
            <a:off x="193558" y="6137153"/>
            <a:ext cx="8541371" cy="259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/>
          <a:p>
            <a:pPr eaLnBrk="0" hangingPunct="0"/>
            <a:r>
              <a:rPr lang="hr-HR" sz="1100" b="1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*</a:t>
            </a:r>
            <a:r>
              <a:rPr lang="hr-HR" sz="1100" b="1" i="1" dirty="0">
                <a:solidFill>
                  <a:srgbClr val="003366"/>
                </a:solidFill>
                <a:latin typeface="+mj-lt"/>
                <a:cs typeface="Tahoma" pitchFamily="34" charset="0"/>
              </a:rPr>
              <a:t>Izvor: </a:t>
            </a:r>
            <a:r>
              <a:rPr lang="hr-HR" sz="1100" b="1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 </a:t>
            </a:r>
            <a:r>
              <a:rPr lang="hr-HR" sz="1100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podaci </a:t>
            </a:r>
            <a:r>
              <a:rPr lang="hr-HR" sz="1100" i="1" dirty="0">
                <a:solidFill>
                  <a:srgbClr val="003366"/>
                </a:solidFill>
                <a:latin typeface="+mj-lt"/>
                <a:cs typeface="Tahoma" pitchFamily="34" charset="0"/>
              </a:rPr>
              <a:t>Državnog zavod za </a:t>
            </a:r>
            <a:r>
              <a:rPr lang="hr-HR" sz="1100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statistiku</a:t>
            </a:r>
            <a:endParaRPr lang="hr-HR" sz="1100" i="1" dirty="0">
              <a:solidFill>
                <a:srgbClr val="003366"/>
              </a:solidFill>
              <a:latin typeface="+mj-lt"/>
              <a:cs typeface="Tahoma" pitchFamily="34" charset="0"/>
            </a:endParaRPr>
          </a:p>
        </p:txBody>
      </p:sp>
      <p:sp>
        <p:nvSpPr>
          <p:cNvPr id="14" name="TekstniOkvir 10"/>
          <p:cNvSpPr txBox="1">
            <a:spLocks noChangeArrowheads="1"/>
          </p:cNvSpPr>
          <p:nvPr/>
        </p:nvSpPr>
        <p:spPr bwMode="auto">
          <a:xfrm>
            <a:off x="7125362" y="2487945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400" b="1" i="1" dirty="0" smtClean="0">
                <a:latin typeface="Calibri" pitchFamily="34" charset="0"/>
                <a:cs typeface="Calibri" pitchFamily="34" charset="0"/>
              </a:rPr>
              <a:t>CAGR %</a:t>
            </a:r>
            <a:endParaRPr lang="hr-HR" sz="1400" b="1" i="1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6" name="Objekt 1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3633668"/>
              </p:ext>
            </p:extLst>
          </p:nvPr>
        </p:nvGraphicFramePr>
        <p:xfrm>
          <a:off x="1828800" y="2590801"/>
          <a:ext cx="5667353" cy="31622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59" name="Grafikon" r:id="rId18" imgW="5667353" imgH="3162287" progId="MSGraph.Chart.8">
                  <p:embed followColorScheme="full"/>
                </p:oleObj>
              </mc:Choice>
              <mc:Fallback>
                <p:oleObj name="Grafikon" r:id="rId18" imgW="5667353" imgH="316228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828800" y="2590801"/>
                        <a:ext cx="5667353" cy="31622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zervirano mjesto teksta 17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864100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8769196A-B74D-4C5E-8EE3-19E67AE0DD6D}" type="datetime'''''''''''''2''''''''''''''0''''1''''''''''0'''''''''">
              <a:rPr lang="en-US" sz="1000" b="1"/>
              <a:pPr/>
              <a:t>2010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Rezervirano mjesto teksta 7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139950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715D2CF0-D64D-4FCA-AC99-7750B3D183A4}" type="datetime'''''''''''2''''0''''''''''06'">
              <a:rPr lang="en-US" sz="1000" b="1"/>
              <a:pPr/>
              <a:t>2006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Rezervirano mjesto teksta 8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820988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A6044082-6DBE-47AB-9D48-BD0C5F697942}" type="datetime'''''200''''''''''''''''''''''''7'''''''''''''''''''''">
              <a:rPr lang="en-US" sz="1000" b="1"/>
              <a:pPr/>
              <a:t>2007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Rezervirano mjesto teksta 16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183063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0F7BEEA7-9256-42B1-85FE-BEE72307E965}" type="datetime'''''''''''''''''''''2''0''''''''''0''9'''''''''">
              <a:rPr lang="en-US" sz="1000" b="1"/>
              <a:pPr/>
              <a:t>2009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Rezervirano mjesto teksta 9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502025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AA20B071-9AB6-407E-B055-297EDED443B3}" type="datetime'''''''''''20''''''''''''''''''0''''''''''''''''''''''8'''">
              <a:rPr lang="en-US" sz="1000" b="1"/>
              <a:pPr/>
              <a:t>2008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Rezervirano mjesto teksta 30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907213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0FEED6A9-C728-46B6-BED1-B5C304F74E19}" type="datetime'2''''''''''''''''0''1''''''''''''''''''''''''''''''''3'''">
              <a:rPr lang="en-US" sz="10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 algn="ctr">
                <a:buNone/>
              </a:pPr>
              <a:t>2013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zervirano mjesto teksta 23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545138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72CDE6E9-8B77-4F40-B23E-FB8D3A6D9D6F}" type="datetime'''''''''2''''''''''''''''''''''0''''''11'''''">
              <a:rPr lang="en-US" sz="1000" b="1"/>
              <a:pPr/>
              <a:t>2011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zervirano mjesto teksta 28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226175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B8EA8636-5485-496D-9480-143BB163FFDD}" type="datetime'''2''''''''''''''''''''''''''0''1''''''''''2'''''''''''''">
              <a:rPr lang="en-US" sz="1000" b="1"/>
              <a:pPr/>
              <a:t>2012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zervirano mjesto teksta 26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302500" y="4200525"/>
            <a:ext cx="3619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fld id="{2745401C-8266-4E78-B56C-B7C2D6477117}" type="datetime'''''''''+''''''''''''1'''''''''',6''''''''''''''''%'">
              <a:rPr lang="en-US" sz="1000" b="1"/>
              <a:pPr/>
              <a:t>+1,6%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4071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856590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2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ravokutnik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456535" cy="246221"/>
          </a:xfrm>
          <a:prstGeom prst="rect">
            <a:avLst/>
          </a:prstGeom>
          <a:solidFill>
            <a:scrgbClr r="0" g="0" b="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95350">
              <a:buSzPct val="120000"/>
            </a:pPr>
            <a:endParaRPr kumimoji="0" lang="hr-HR" sz="1000" b="1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98" name="Rectangle 3"/>
          <p:cNvSpPr>
            <a:spLocks noChangeArrowheads="1"/>
          </p:cNvSpPr>
          <p:nvPr/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hr-HR" sz="2000" b="1" dirty="0">
                <a:solidFill>
                  <a:schemeClr val="accent2"/>
                </a:solidFill>
              </a:rPr>
              <a:t>Proizvodnja ambalaže u RH – statistički podaci</a:t>
            </a:r>
          </a:p>
        </p:txBody>
      </p:sp>
      <p:sp>
        <p:nvSpPr>
          <p:cNvPr id="9" name="Rezervirano mjesto broja slajda 3"/>
          <p:cNvSpPr txBox="1">
            <a:spLocks noGrp="1"/>
          </p:cNvSpPr>
          <p:nvPr/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8</a:t>
            </a:fld>
            <a:endParaRPr lang="hr-HR" sz="12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/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5"/>
          <p:cNvSpPr txBox="1">
            <a:spLocks/>
          </p:cNvSpPr>
          <p:nvPr/>
        </p:nvSpPr>
        <p:spPr>
          <a:xfrm>
            <a:off x="216636" y="1282883"/>
            <a:ext cx="8064500" cy="7554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hr-HR" dirty="0" smtClean="0"/>
              <a:t>AMBALAŽA OD PLASTIKE - PROIZVODNJA U REPUBLICI HRVATSKOJ </a:t>
            </a:r>
          </a:p>
        </p:txBody>
      </p:sp>
      <p:sp>
        <p:nvSpPr>
          <p:cNvPr id="12" name="TekstniOkvir 10"/>
          <p:cNvSpPr txBox="1">
            <a:spLocks noChangeArrowheads="1"/>
          </p:cNvSpPr>
          <p:nvPr/>
        </p:nvSpPr>
        <p:spPr bwMode="auto">
          <a:xfrm>
            <a:off x="2330391" y="2111376"/>
            <a:ext cx="463238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400" b="1" dirty="0" smtClean="0">
                <a:latin typeface="Calibri" pitchFamily="34" charset="0"/>
                <a:cs typeface="Calibri" pitchFamily="34" charset="0"/>
              </a:rPr>
              <a:t>Proizvede količine u razdoblju 2006 – 2013 , </a:t>
            </a:r>
            <a:r>
              <a:rPr lang="hr-HR" sz="1400" b="1" i="1" dirty="0" smtClean="0">
                <a:latin typeface="Calibri" pitchFamily="34" charset="0"/>
                <a:cs typeface="Calibri" pitchFamily="34" charset="0"/>
              </a:rPr>
              <a:t>(u  000 tona)</a:t>
            </a:r>
            <a:endParaRPr lang="hr-HR" sz="1400" b="1" i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Pravokutnik 1"/>
          <p:cNvSpPr>
            <a:spLocks noChangeArrowheads="1"/>
          </p:cNvSpPr>
          <p:nvPr/>
        </p:nvSpPr>
        <p:spPr bwMode="auto">
          <a:xfrm>
            <a:off x="1790525" y="2622495"/>
            <a:ext cx="816091" cy="228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11" tIns="44806" rIns="89611" bIns="44806">
            <a:spAutoFit/>
          </a:bodyPr>
          <a:lstStyle/>
          <a:p>
            <a:pPr eaLnBrk="0" hangingPunct="0"/>
            <a:r>
              <a:rPr lang="pl-PL" sz="900" b="1" dirty="0" smtClean="0">
                <a:solidFill>
                  <a:srgbClr val="003366"/>
                </a:solidFill>
                <a:latin typeface="Calibri" pitchFamily="34" charset="0"/>
                <a:cs typeface="Calibri" pitchFamily="34" charset="0"/>
              </a:rPr>
              <a:t>U 000 tona</a:t>
            </a:r>
            <a:endParaRPr lang="hr-HR" sz="900" b="1" dirty="0">
              <a:solidFill>
                <a:srgbClr val="00336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Pravokutnik 1"/>
          <p:cNvSpPr>
            <a:spLocks noChangeArrowheads="1"/>
          </p:cNvSpPr>
          <p:nvPr/>
        </p:nvSpPr>
        <p:spPr bwMode="auto">
          <a:xfrm>
            <a:off x="193558" y="6137153"/>
            <a:ext cx="8541371" cy="259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/>
          <a:p>
            <a:pPr eaLnBrk="0" hangingPunct="0"/>
            <a:r>
              <a:rPr lang="hr-HR" sz="1100" b="1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*</a:t>
            </a:r>
            <a:r>
              <a:rPr lang="hr-HR" sz="1100" b="1" i="1" dirty="0">
                <a:solidFill>
                  <a:srgbClr val="003366"/>
                </a:solidFill>
                <a:latin typeface="+mj-lt"/>
                <a:cs typeface="Tahoma" pitchFamily="34" charset="0"/>
              </a:rPr>
              <a:t>Izvor: </a:t>
            </a:r>
            <a:r>
              <a:rPr lang="hr-HR" sz="1100" b="1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 </a:t>
            </a:r>
            <a:r>
              <a:rPr lang="hr-HR" sz="1100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podaci </a:t>
            </a:r>
            <a:r>
              <a:rPr lang="hr-HR" sz="1100" i="1" dirty="0">
                <a:solidFill>
                  <a:srgbClr val="003366"/>
                </a:solidFill>
                <a:latin typeface="+mj-lt"/>
                <a:cs typeface="Tahoma" pitchFamily="34" charset="0"/>
              </a:rPr>
              <a:t>Državnog zavod za </a:t>
            </a:r>
            <a:r>
              <a:rPr lang="hr-HR" sz="1100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statistiku</a:t>
            </a:r>
            <a:endParaRPr lang="hr-HR" sz="1100" i="1" dirty="0">
              <a:solidFill>
                <a:srgbClr val="003366"/>
              </a:solidFill>
              <a:latin typeface="+mj-lt"/>
              <a:cs typeface="Tahoma" pitchFamily="34" charset="0"/>
            </a:endParaRPr>
          </a:p>
        </p:txBody>
      </p:sp>
      <p:sp>
        <p:nvSpPr>
          <p:cNvPr id="14" name="TekstniOkvir 10"/>
          <p:cNvSpPr txBox="1">
            <a:spLocks noChangeArrowheads="1"/>
          </p:cNvSpPr>
          <p:nvPr/>
        </p:nvSpPr>
        <p:spPr bwMode="auto">
          <a:xfrm>
            <a:off x="7125362" y="2487945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400" b="1" i="1" dirty="0" smtClean="0">
                <a:latin typeface="Calibri" pitchFamily="34" charset="0"/>
                <a:cs typeface="Calibri" pitchFamily="34" charset="0"/>
              </a:rPr>
              <a:t>CAGR %</a:t>
            </a:r>
            <a:endParaRPr lang="hr-HR" sz="1400" b="1" i="1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6" name="Objekt 1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55762122"/>
              </p:ext>
            </p:extLst>
          </p:nvPr>
        </p:nvGraphicFramePr>
        <p:xfrm>
          <a:off x="1828800" y="2590801"/>
          <a:ext cx="5667353" cy="31622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3" name="Grafikon" r:id="rId18" imgW="5667353" imgH="3162287" progId="MSGraph.Chart.8">
                  <p:embed followColorScheme="full"/>
                </p:oleObj>
              </mc:Choice>
              <mc:Fallback>
                <p:oleObj name="Grafikon" r:id="rId18" imgW="5667353" imgH="316228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828800" y="2590801"/>
                        <a:ext cx="5667353" cy="31622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zervirano mjesto teksta 7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139950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E29F7D03-629B-4961-9A0D-277BA2E7F2E3}" type="datetime'''20''''''''''''''''''''''''''''''''''0''''''6'''">
              <a:rPr lang="en-US" sz="1000" b="1"/>
              <a:pPr/>
              <a:t>2006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Rezervirano mjesto teksta 8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820988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3FD569CA-E19F-4343-A75E-8089B56031A1}" type="datetime'''2''''''''''0''''''''''''''''''''''''''0''''''''''''7'''''">
              <a:rPr lang="en-US" sz="1000" b="1"/>
              <a:pPr/>
              <a:t>2007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Rezervirano mjesto teksta 16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183063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5E1F887C-9ABF-41BA-8C83-1C03C5E471D0}" type="datetime'''''''''''''''''2''''''''0''''''''0''''''''''''''9'''''">
              <a:rPr lang="en-US" sz="1000" b="1"/>
              <a:pPr/>
              <a:t>2009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zervirano mjesto teksta 23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545138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FC4ECA44-D17E-4A9E-8569-7937A901F8CB}" type="datetime'''''''''''''''''''''''''''20''''''''''''1''''''''''''1'''''">
              <a:rPr lang="en-US" sz="1000" b="1"/>
              <a:pPr/>
              <a:t>2011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Rezervirano mjesto teksta 17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864100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371CA38D-33F0-4FEF-BB75-89168015D885}" type="datetime'''''''''''''''''2''''''''''01''''''''''''''''''''''0'''''''">
              <a:rPr lang="en-US" sz="1000" b="1"/>
              <a:pPr/>
              <a:t>2010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Rezervirano mjesto teksta 9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502025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882D0B31-ACEA-4358-867B-B88CDAB2E552}" type="datetime'''''''200''''''''''''''''''''''''''''''''8'''''''''">
              <a:rPr lang="en-US" sz="1000" b="1"/>
              <a:pPr/>
              <a:t>2008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Rezervirano mjesto teksta 28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226175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D7AA7C5B-C5A1-491C-ACA7-9B9DD0A6B3B0}" type="datetime'''''''''''''20''''''''''''''''''''''''''''''''''''''12'">
              <a:rPr lang="en-US" sz="1000" b="1"/>
              <a:pPr/>
              <a:t>2012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Rezervirano mjesto teksta 26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302500" y="4224338"/>
            <a:ext cx="3619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None/>
            </a:pPr>
            <a:fld id="{33D51D1F-C3DD-464E-BA87-D16376EFAAB3}" type="datetime'''''+2'''''''''''''''''''''''''''''''''',''''0%'''">
              <a:rPr lang="en-US" sz="1000" b="1"/>
              <a:pPr/>
              <a:t>+2,0%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" name="Rezervirano mjesto teksta 30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907213" y="5765800"/>
            <a:ext cx="2921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1313" indent="-341313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28588" indent="-12700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293688" indent="-161925" algn="l" defTabSz="768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430213" indent="-133350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587375" indent="-153988" algn="l" defTabSz="768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1046052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503203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1960355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417507" indent="-155558" algn="l" defTabSz="769857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None/>
            </a:pPr>
            <a:fld id="{503B4069-36E7-4F7C-873B-7CFB31976A14}" type="datetime'''2''''''''''''''''''''''''''01''''''''''''''''''3'">
              <a:rPr lang="en-US" sz="1000" b="1"/>
              <a:pPr/>
              <a:t>2013</a:t>
            </a:fld>
            <a:endParaRPr lang="hr-HR" sz="10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716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38&quot;/&gt;&lt;CPresentation id=&quot;1&quot;&gt;&lt;m_precDefaultNumber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Clo4ZM7Eyrv6JMdd7gZ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pe1ZHbz0eh9OcmU9MhD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wyZ25k8kedXOevGoImE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ga_.XbjECX7gbKDATiC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OsFvtEckqnQElyhVgLS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aqrETSvk2Q7P4v726Y_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CaY9bfMUmkooZ.jzr1g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_ZHP2Lu0.a1IUmjow5w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xoprV2VkOeSuAwAXMP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q_jpE1sEiMLBWBAqm77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oroFEIaU6lPaQVMHbhe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oxdnbjqk.3ztDYwdEaf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5zIUlB80qKGaxyeXGrl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GwZLugQEeGN_iyaQAhi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ZRvMH2sUGMKG5bSMjB7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m7Wc1q0kGBKQ_wsSrkn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Ie8wDMlU6zIw9OQfg0X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j5QPLnj02m1OCp6XPvf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aE4CiZ.0mBVQ2ZxEMxX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EMnM8Kz0y7ELuVsXIJ1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.BhKrM4068wdBZXyW7.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WJpIAi8kWRwxNB0iKqN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83dkz9qEG_HgSRQhe6A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nFr.8QXU2h6qqCgMPYE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cBjDrK3UypmfSC7ZOof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igP492nkKfP3QxxyXzH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GxcZcpAkGHCVXQnfHLw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ZMbNYVnUC.o3_dmmIV_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fMK2mLN06cCIUC9WDJu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GjWDwtSEqnEjGu34tmP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NthxKx9EeEsYY49LBLr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OfmD56jEOfcxOBC7lwH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EvVROfA0WfXHqWqWm3N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tFUnFtvk.D85510Werc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AEKZLh6Ua2J0W4yZrpJ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gXwR_.Tk2kQ1MA4YydD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SqNF7Eo06QNUd_qPol7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uxVMfRkEOJCd83sgQDW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0xZDsPK02jvB7io_0E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ofIxPpJUik_RTDBF21r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eXf97DVkSJ8rWxhai1d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HZ7BmEZEuwousM3nbZ9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JMUfVlQ0.W7WyFRtYrA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izOAccqEmAcG8Kc0n2w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guO46hf0qoQBTAqVf1b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5XomtSSU6.YCDhk9s.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M86u8fbkqfCx_c3Or5p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coTdFmF0GB8tyiN8gz3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jxp.867k6getsWIR6KZ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XVyjtUhkGHmwkryotJU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Q81A6bz0OmceE_9kNFa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ps6j2H1Uq4EuZtHDvc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WtpvpwE0Ct0aVKz78I5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cm6ryBXEqW74KGp7fCuw"/>
</p:tagLst>
</file>

<file path=ppt/theme/theme1.xml><?xml version="1.0" encoding="utf-8"?>
<a:theme xmlns:a="http://schemas.openxmlformats.org/drawingml/2006/main" name="Blank Presentation">
  <a:themeElements>
    <a:clrScheme name="Blank Presentation 10">
      <a:dk1>
        <a:srgbClr val="666666"/>
      </a:dk1>
      <a:lt1>
        <a:srgbClr val="FFFFFF"/>
      </a:lt1>
      <a:dk2>
        <a:srgbClr val="000000"/>
      </a:dk2>
      <a:lt2>
        <a:srgbClr val="000000"/>
      </a:lt2>
      <a:accent1>
        <a:srgbClr val="B6C5D7"/>
      </a:accent1>
      <a:accent2>
        <a:srgbClr val="00367A"/>
      </a:accent2>
      <a:accent3>
        <a:srgbClr val="FFFFFF"/>
      </a:accent3>
      <a:accent4>
        <a:srgbClr val="565656"/>
      </a:accent4>
      <a:accent5>
        <a:srgbClr val="D7DFE8"/>
      </a:accent5>
      <a:accent6>
        <a:srgbClr val="00306E"/>
      </a:accent6>
      <a:hlink>
        <a:srgbClr val="D6D6D6"/>
      </a:hlink>
      <a:folHlink>
        <a:srgbClr val="002654"/>
      </a:folHlink>
    </a:clrScheme>
    <a:fontScheme name="Blank Presentatio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222250" marR="0" indent="-220663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Pct val="120000"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222250" marR="0" indent="-220663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Pct val="120000"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FEFB00"/>
        </a:lt2>
        <a:accent1>
          <a:srgbClr val="0000FE"/>
        </a:accent1>
        <a:accent2>
          <a:srgbClr val="6598FF"/>
        </a:accent2>
        <a:accent3>
          <a:srgbClr val="AAAAAA"/>
        </a:accent3>
        <a:accent4>
          <a:srgbClr val="DADADA"/>
        </a:accent4>
        <a:accent5>
          <a:srgbClr val="AAAAFE"/>
        </a:accent5>
        <a:accent6>
          <a:srgbClr val="5B89E7"/>
        </a:accent6>
        <a:hlink>
          <a:srgbClr val="33CB33"/>
        </a:hlink>
        <a:folHlink>
          <a:srgbClr val="FEFB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FE"/>
        </a:dk2>
        <a:lt2>
          <a:srgbClr val="000000"/>
        </a:lt2>
        <a:accent1>
          <a:srgbClr val="0000FE"/>
        </a:accent1>
        <a:accent2>
          <a:srgbClr val="6598FF"/>
        </a:accent2>
        <a:accent3>
          <a:srgbClr val="FFFFFF"/>
        </a:accent3>
        <a:accent4>
          <a:srgbClr val="000000"/>
        </a:accent4>
        <a:accent5>
          <a:srgbClr val="AAAAFE"/>
        </a:accent5>
        <a:accent6>
          <a:srgbClr val="5B89E7"/>
        </a:accent6>
        <a:hlink>
          <a:srgbClr val="33CB33"/>
        </a:hlink>
        <a:folHlink>
          <a:srgbClr val="FEFB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60606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565656"/>
        </a:accent6>
        <a:hlink>
          <a:srgbClr val="909090"/>
        </a:hlink>
        <a:folHlink>
          <a:srgbClr val="D0D0D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676767"/>
        </a:dk1>
        <a:lt1>
          <a:srgbClr val="FFFFFF"/>
        </a:lt1>
        <a:dk2>
          <a:srgbClr val="000000"/>
        </a:dk2>
        <a:lt2>
          <a:srgbClr val="FFFF7F"/>
        </a:lt2>
        <a:accent1>
          <a:srgbClr val="00009E"/>
        </a:accent1>
        <a:accent2>
          <a:srgbClr val="3F3FFF"/>
        </a:accent2>
        <a:accent3>
          <a:srgbClr val="AAAAAA"/>
        </a:accent3>
        <a:accent4>
          <a:srgbClr val="DADADA"/>
        </a:accent4>
        <a:accent5>
          <a:srgbClr val="AAAACC"/>
        </a:accent5>
        <a:accent6>
          <a:srgbClr val="3838E7"/>
        </a:accent6>
        <a:hlink>
          <a:srgbClr val="739BFF"/>
        </a:hlink>
        <a:folHlink>
          <a:srgbClr val="BFE7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00009E"/>
        </a:dk2>
        <a:lt2>
          <a:srgbClr val="676767"/>
        </a:lt2>
        <a:accent1>
          <a:srgbClr val="BFE7FF"/>
        </a:accent1>
        <a:accent2>
          <a:srgbClr val="739BFF"/>
        </a:accent2>
        <a:accent3>
          <a:srgbClr val="FFFFFF"/>
        </a:accent3>
        <a:accent4>
          <a:srgbClr val="000000"/>
        </a:accent4>
        <a:accent5>
          <a:srgbClr val="DCF1FF"/>
        </a:accent5>
        <a:accent6>
          <a:srgbClr val="688CE7"/>
        </a:accent6>
        <a:hlink>
          <a:srgbClr val="3F3FFF"/>
        </a:hlink>
        <a:folHlink>
          <a:srgbClr val="0000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000000"/>
        </a:dk2>
        <a:lt2>
          <a:srgbClr val="676767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666666"/>
        </a:dk1>
        <a:lt1>
          <a:srgbClr val="DDDDDD"/>
        </a:lt1>
        <a:dk2>
          <a:srgbClr val="666666"/>
        </a:dk2>
        <a:lt2>
          <a:srgbClr val="000000"/>
        </a:lt2>
        <a:accent1>
          <a:srgbClr val="FFFFFF"/>
        </a:accent1>
        <a:accent2>
          <a:srgbClr val="909090"/>
        </a:accent2>
        <a:accent3>
          <a:srgbClr val="EBEBEB"/>
        </a:accent3>
        <a:accent4>
          <a:srgbClr val="565656"/>
        </a:accent4>
        <a:accent5>
          <a:srgbClr val="FFFFFF"/>
        </a:accent5>
        <a:accent6>
          <a:srgbClr val="828282"/>
        </a:accent6>
        <a:hlink>
          <a:srgbClr val="D0D0D0"/>
        </a:hlink>
        <a:folHlink>
          <a:srgbClr val="90909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666666"/>
        </a:dk1>
        <a:lt1>
          <a:srgbClr val="FFFFFF"/>
        </a:lt1>
        <a:dk2>
          <a:srgbClr val="666666"/>
        </a:dk2>
        <a:lt2>
          <a:srgbClr val="000000"/>
        </a:lt2>
        <a:accent1>
          <a:srgbClr val="FFFFFF"/>
        </a:accent1>
        <a:accent2>
          <a:srgbClr val="909090"/>
        </a:accent2>
        <a:accent3>
          <a:srgbClr val="FFFFFF"/>
        </a:accent3>
        <a:accent4>
          <a:srgbClr val="565656"/>
        </a:accent4>
        <a:accent5>
          <a:srgbClr val="FFFFFF"/>
        </a:accent5>
        <a:accent6>
          <a:srgbClr val="828282"/>
        </a:accent6>
        <a:hlink>
          <a:srgbClr val="D0D0D0"/>
        </a:hlink>
        <a:folHlink>
          <a:srgbClr val="EE2A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666666"/>
        </a:dk1>
        <a:lt1>
          <a:srgbClr val="FFFFFF"/>
        </a:lt1>
        <a:dk2>
          <a:srgbClr val="666666"/>
        </a:dk2>
        <a:lt2>
          <a:srgbClr val="000000"/>
        </a:lt2>
        <a:accent1>
          <a:srgbClr val="FFFFFF"/>
        </a:accent1>
        <a:accent2>
          <a:srgbClr val="909090"/>
        </a:accent2>
        <a:accent3>
          <a:srgbClr val="FFFFFF"/>
        </a:accent3>
        <a:accent4>
          <a:srgbClr val="565656"/>
        </a:accent4>
        <a:accent5>
          <a:srgbClr val="FFFFFF"/>
        </a:accent5>
        <a:accent6>
          <a:srgbClr val="828282"/>
        </a:accent6>
        <a:hlink>
          <a:srgbClr val="D0D0D0"/>
        </a:hlink>
        <a:folHlink>
          <a:srgbClr val="FE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666666"/>
        </a:dk1>
        <a:lt1>
          <a:srgbClr val="FFFFFF"/>
        </a:lt1>
        <a:dk2>
          <a:srgbClr val="000000"/>
        </a:dk2>
        <a:lt2>
          <a:srgbClr val="000000"/>
        </a:lt2>
        <a:accent1>
          <a:srgbClr val="B6C5D7"/>
        </a:accent1>
        <a:accent2>
          <a:srgbClr val="00367A"/>
        </a:accent2>
        <a:accent3>
          <a:srgbClr val="FFFFFF"/>
        </a:accent3>
        <a:accent4>
          <a:srgbClr val="565656"/>
        </a:accent4>
        <a:accent5>
          <a:srgbClr val="D7DFE8"/>
        </a:accent5>
        <a:accent6>
          <a:srgbClr val="00306E"/>
        </a:accent6>
        <a:hlink>
          <a:srgbClr val="D6D6D6"/>
        </a:hlink>
        <a:folHlink>
          <a:srgbClr val="00265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666666"/>
        </a:dk1>
        <a:lt1>
          <a:srgbClr val="FFFFFF"/>
        </a:lt1>
        <a:dk2>
          <a:srgbClr val="000000"/>
        </a:dk2>
        <a:lt2>
          <a:srgbClr val="000000"/>
        </a:lt2>
        <a:accent1>
          <a:srgbClr val="B6C5D7"/>
        </a:accent1>
        <a:accent2>
          <a:srgbClr val="00367A"/>
        </a:accent2>
        <a:accent3>
          <a:srgbClr val="FFFFFF"/>
        </a:accent3>
        <a:accent4>
          <a:srgbClr val="565656"/>
        </a:accent4>
        <a:accent5>
          <a:srgbClr val="D7DFE8"/>
        </a:accent5>
        <a:accent6>
          <a:srgbClr val="00306E"/>
        </a:accent6>
        <a:hlink>
          <a:srgbClr val="DDDDDD"/>
        </a:hlink>
        <a:folHlink>
          <a:srgbClr val="00265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B6C5D7"/>
        </a:accent1>
        <a:accent2>
          <a:srgbClr val="00367A"/>
        </a:accent2>
        <a:accent3>
          <a:srgbClr val="FFFFFF"/>
        </a:accent3>
        <a:accent4>
          <a:srgbClr val="000000"/>
        </a:accent4>
        <a:accent5>
          <a:srgbClr val="D7DFE8"/>
        </a:accent5>
        <a:accent6>
          <a:srgbClr val="00306E"/>
        </a:accent6>
        <a:hlink>
          <a:srgbClr val="DDDDDD"/>
        </a:hlink>
        <a:folHlink>
          <a:srgbClr val="00265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3">
        <a:dk1>
          <a:srgbClr val="666666"/>
        </a:dk1>
        <a:lt1>
          <a:srgbClr val="FFFFFF"/>
        </a:lt1>
        <a:dk2>
          <a:srgbClr val="666666"/>
        </a:dk2>
        <a:lt2>
          <a:srgbClr val="000000"/>
        </a:lt2>
        <a:accent1>
          <a:srgbClr val="B6C5D7"/>
        </a:accent1>
        <a:accent2>
          <a:srgbClr val="00367A"/>
        </a:accent2>
        <a:accent3>
          <a:srgbClr val="FFFFFF"/>
        </a:accent3>
        <a:accent4>
          <a:srgbClr val="565656"/>
        </a:accent4>
        <a:accent5>
          <a:srgbClr val="D7DFE8"/>
        </a:accent5>
        <a:accent6>
          <a:srgbClr val="00306E"/>
        </a:accent6>
        <a:hlink>
          <a:srgbClr val="D6D6D6"/>
        </a:hlink>
        <a:folHlink>
          <a:srgbClr val="00265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8187</TotalTime>
  <Words>464</Words>
  <Application>Microsoft Office PowerPoint</Application>
  <PresentationFormat>Prilagođeno</PresentationFormat>
  <Paragraphs>150</Paragraphs>
  <Slides>12</Slides>
  <Notes>12</Notes>
  <HiddenSlides>0</HiddenSlides>
  <MMClips>0</MMClips>
  <ScaleCrop>false</ScaleCrop>
  <HeadingPairs>
    <vt:vector size="8" baseType="variant">
      <vt:variant>
        <vt:lpstr>Korišteni fontovi</vt:lpstr>
      </vt:variant>
      <vt:variant>
        <vt:i4>5</vt:i4>
      </vt:variant>
      <vt:variant>
        <vt:lpstr>Tema</vt:lpstr>
      </vt:variant>
      <vt:variant>
        <vt:i4>1</vt:i4>
      </vt:variant>
      <vt:variant>
        <vt:lpstr>Uloženi OLE poslužitelji</vt:lpstr>
      </vt:variant>
      <vt:variant>
        <vt:i4>2</vt:i4>
      </vt:variant>
      <vt:variant>
        <vt:lpstr>Naslovi slajdova</vt:lpstr>
      </vt:variant>
      <vt:variant>
        <vt:i4>12</vt:i4>
      </vt:variant>
    </vt:vector>
  </HeadingPairs>
  <TitlesOfParts>
    <vt:vector size="20" baseType="lpstr">
      <vt:lpstr>Arial</vt:lpstr>
      <vt:lpstr>calibiri</vt:lpstr>
      <vt:lpstr>Calibri</vt:lpstr>
      <vt:lpstr>Tahoma</vt:lpstr>
      <vt:lpstr>Times New Roman</vt:lpstr>
      <vt:lpstr>Blank Presentation</vt:lpstr>
      <vt:lpstr>think-cell Slide</vt:lpstr>
      <vt:lpstr>Grafikon</vt:lpstr>
      <vt:lpstr>PowerPointova prezentacija</vt:lpstr>
      <vt:lpstr>PowerPointova prezentacija</vt:lpstr>
      <vt:lpstr>PowerPointova prezentacija</vt:lpstr>
      <vt:lpstr>PowerPointova prezentacija</vt:lpstr>
      <vt:lpstr>PowerPointova prezentacija</vt:lpstr>
      <vt:lpstr>PowerPointova prezentacija</vt:lpstr>
      <vt:lpstr>PowerPointova prezentacija</vt:lpstr>
      <vt:lpstr>PowerPointova prezentacija</vt:lpstr>
      <vt:lpstr>PowerPointova prezentacija</vt:lpstr>
      <vt:lpstr>PowerPointova prezentacija</vt:lpstr>
      <vt:lpstr>PowerPointova prezentacija</vt:lpstr>
      <vt:lpstr>PowerPointova prezentacija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Kara Stenhouse</dc:creator>
  <cp:lastModifiedBy>Goran Golja</cp:lastModifiedBy>
  <cp:revision>2721</cp:revision>
  <cp:lastPrinted>2011-11-30T07:39:07Z</cp:lastPrinted>
  <dcterms:created xsi:type="dcterms:W3CDTF">2005-02-19T11:57:30Z</dcterms:created>
  <dcterms:modified xsi:type="dcterms:W3CDTF">2014-05-27T15:20:06Z</dcterms:modified>
</cp:coreProperties>
</file>